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3"/>
  </p:sldMasterIdLst>
  <p:notesMasterIdLst>
    <p:notesMasterId r:id="rId10"/>
  </p:notesMasterIdLst>
  <p:handoutMasterIdLst>
    <p:handoutMasterId r:id="rId11"/>
  </p:handoutMasterIdLst>
  <p:sldIdLst>
    <p:sldId id="256" r:id="rId4"/>
    <p:sldId id="2134806304" r:id="rId5"/>
    <p:sldId id="2134806306" r:id="rId6"/>
    <p:sldId id="324" r:id="rId7"/>
    <p:sldId id="11164" r:id="rId8"/>
    <p:sldId id="2134805414" r:id="rId9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7440" autoAdjust="0"/>
  </p:normalViewPr>
  <p:slideViewPr>
    <p:cSldViewPr snapToGrid="0">
      <p:cViewPr varScale="1">
        <p:scale>
          <a:sx n="115" d="100"/>
          <a:sy n="115" d="100"/>
        </p:scale>
        <p:origin x="372" y="108"/>
      </p:cViewPr>
      <p:guideLst/>
    </p:cSldViewPr>
  </p:slideViewPr>
  <p:outlineViewPr>
    <p:cViewPr>
      <p:scale>
        <a:sx n="33" d="100"/>
        <a:sy n="33" d="100"/>
      </p:scale>
      <p:origin x="0" y="-1077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09" d="100"/>
          <a:sy n="109" d="100"/>
        </p:scale>
        <p:origin x="512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975238A-E77C-4161-8153-559CAAFF08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63C429-307D-46CA-9A12-06D8698F75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E2EF3F-42B8-4B9D-A37E-11A4D443AA0D}" type="datetimeFigureOut">
              <a:rPr lang="en-US" sz="1050" smtClean="0"/>
              <a:t>11/3/2020</a:t>
            </a:fld>
            <a:endParaRPr lang="en-US" sz="105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65EB52-C1D0-4343-AE68-5103D2F419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6198C1-5F95-4924-98B6-9E9A0B40AE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/>
              <a:t>Handout</a:t>
            </a:r>
            <a:r>
              <a:rPr lang="en-US" sz="1050" dirty="0"/>
              <a:t> </a:t>
            </a:r>
            <a:fld id="{FE9D864B-9634-41E7-BDAB-3BBEEED548E4}" type="slidenum">
              <a:rPr lang="en-US" sz="1050" smtClean="0"/>
              <a:t>‹#›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27536000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000"/>
            </a:lvl1pPr>
          </a:lstStyle>
          <a:p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000"/>
            </a:lvl1pPr>
          </a:lstStyle>
          <a:p>
            <a:fld id="{B121E240-E9EA-40DE-8EFF-BE00DCAC0262}" type="datetimeFigureOut">
              <a:rPr lang="en-US" noProof="0" smtClean="0"/>
              <a:pPr/>
              <a:t>11/3/2020</a:t>
            </a:fld>
            <a:endParaRPr lang="en-US" noProof="0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9394" y="4925407"/>
            <a:ext cx="6145276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/>
              <a:t>Formatvorlagen des Textmasters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000"/>
            </a:lvl1pPr>
          </a:lstStyle>
          <a:p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000"/>
            </a:lvl1pPr>
          </a:lstStyle>
          <a:p>
            <a:r>
              <a:rPr lang="en-US" b="1" noProof="0" dirty="0"/>
              <a:t>Notice </a:t>
            </a:r>
            <a:fld id="{84EE17C3-51E0-4A9C-B3A8-E6548E6A9E95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314762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spcAft>
        <a:spcPts val="3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is a great business opportun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27509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is a great business opportun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noProof="0"/>
              <a:t>Notice </a:t>
            </a:r>
            <a:fld id="{84EE17C3-51E0-4A9C-B3A8-E6548E6A9E95}" type="slidenum">
              <a:rPr lang="en-US" noProof="0" smtClean="0"/>
              <a:pPr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1702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ice </a:t>
            </a:r>
            <a:fld id="{84EE17C3-51E0-4A9C-B3A8-E6548E6A9E9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B15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1B15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0689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 a commodity – value depends on use</a:t>
            </a:r>
          </a:p>
          <a:p>
            <a:r>
              <a:rPr lang="en-GB" dirty="0"/>
              <a:t>A vector to store and deliver energy for a wide range of use cases.  Each one of which has incumbent fossil based alternatives.</a:t>
            </a:r>
          </a:p>
          <a:p>
            <a:r>
              <a:rPr lang="en-GB" dirty="0"/>
              <a:t>To displace those incumbents need to create end to end business models.</a:t>
            </a:r>
          </a:p>
          <a:p>
            <a:r>
              <a:rPr lang="en-GB" dirty="0"/>
              <a:t>Create compelling reasons for customers to switch</a:t>
            </a:r>
          </a:p>
          <a:p>
            <a:r>
              <a:rPr lang="en-GB" dirty="0"/>
              <a:t>Calls for partnering and market shaping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15BD39-A1E1-405B-BCEF-4F523ACFD5F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502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emf"/><Relationship Id="rId4" Type="http://schemas.openxmlformats.org/officeDocument/2006/relationships/image" Target="../media/image7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customXml" Target="../../customXml/item1.xml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Un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813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7" name="License statement">
            <a:extLst>
              <a:ext uri="{FF2B5EF4-FFF2-40B4-BE49-F238E27FC236}">
                <a16:creationId xmlns:a16="http://schemas.microsoft.com/office/drawing/2014/main" id="{D0DCD031-C87D-4337-8B6F-81915A0662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235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ackground">
            <a:extLst>
              <a:ext uri="{FF2B5EF4-FFF2-40B4-BE49-F238E27FC236}">
                <a16:creationId xmlns:a16="http://schemas.microsoft.com/office/drawing/2014/main" id="{5EEEC47E-29AF-4B44-A9C9-06E5C65189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21" name="Author | Department">
            <a:extLst>
              <a:ext uri="{FF2B5EF4-FFF2-40B4-BE49-F238E27FC236}">
                <a16:creationId xmlns:a16="http://schemas.microsoft.com/office/drawing/2014/main" id="{D68DCDC5-4F2B-44B6-8F0F-820176DFF1B3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2" name="Copyright">
            <a:extLst>
              <a:ext uri="{FF2B5EF4-FFF2-40B4-BE49-F238E27FC236}">
                <a16:creationId xmlns:a16="http://schemas.microsoft.com/office/drawing/2014/main" id="{7F37D979-5873-43CB-B2A0-7F29413E1A8E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3" name="Page">
            <a:extLst>
              <a:ext uri="{FF2B5EF4-FFF2-40B4-BE49-F238E27FC236}">
                <a16:creationId xmlns:a16="http://schemas.microsoft.com/office/drawing/2014/main" id="{03A6209B-0B23-4B14-8B9F-CD213A6E096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135B676A-1967-447F-9CAE-69D52FC83DD5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9FD4DA83-51C4-4A4B-A278-BEF26AF8F17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387AABCF-4385-4691-9A06-00F20F9065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816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8417E295-392C-44FE-8176-B174ED9A229B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26DFA7DF-409A-4EF9-98B8-082D9F0DFFA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FBB07F48-7C23-4EE9-98FE-9F1E3B2F0CF9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729C0801-E71C-4366-8677-B076F4D6C490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82BE5B3D-7992-492A-8060-97136D5B397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4" name="License statement">
            <a:extLst>
              <a:ext uri="{FF2B5EF4-FFF2-40B4-BE49-F238E27FC236}">
                <a16:creationId xmlns:a16="http://schemas.microsoft.com/office/drawing/2014/main" id="{B7CADBCA-4DE1-404E-BF7C-ADF2A140AC0F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487C015F-913C-48DD-99E5-F1AEE0B2AC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01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">
            <a:extLst>
              <a:ext uri="{FF2B5EF4-FFF2-40B4-BE49-F238E27FC236}">
                <a16:creationId xmlns:a16="http://schemas.microsoft.com/office/drawing/2014/main" id="{F1C3F0AE-B730-4CA9-92F6-C1C6E95677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6123" t="21730" r="42206" b="36603"/>
          <a:stretch/>
        </p:blipFill>
        <p:spPr bwMode="invGray">
          <a:xfrm>
            <a:off x="1360" y="425"/>
            <a:ext cx="12193200" cy="6858000"/>
          </a:xfrm>
          <a:prstGeom prst="rect">
            <a:avLst/>
          </a:prstGeom>
        </p:spPr>
      </p:pic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able</a:t>
            </a:r>
          </a:p>
        </p:txBody>
      </p:sp>
      <p:sp>
        <p:nvSpPr>
          <p:cNvPr id="6" name="Author | Department">
            <a:extLst>
              <a:ext uri="{FF2B5EF4-FFF2-40B4-BE49-F238E27FC236}">
                <a16:creationId xmlns:a16="http://schemas.microsoft.com/office/drawing/2014/main" id="{F1D626C4-116E-471D-A183-678A72706E84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8B59CFA-AFE0-4473-A60A-D84A1A90AE4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0" name="Page">
            <a:extLst>
              <a:ext uri="{FF2B5EF4-FFF2-40B4-BE49-F238E27FC236}">
                <a16:creationId xmlns:a16="http://schemas.microsoft.com/office/drawing/2014/main" id="{EFC6F67A-D89D-43AA-A5C1-18FB7E52FD1F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6C6E93D-807F-4E17-B486-DCE68B9A6AD6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580109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of contents</a:t>
            </a:r>
            <a:endParaRPr lang="en-US" dirty="0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9194992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Table of contents</a:t>
            </a:r>
            <a:endParaRPr lang="en-US" dirty="0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>
              <a:lnSpc>
                <a:spcPct val="90000"/>
              </a:lnSpc>
              <a:spcAft>
                <a:spcPts val="1500"/>
              </a:spcAft>
              <a:defRPr sz="72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 b="1"/>
            </a:lvl2pPr>
            <a:lvl3pPr marL="0" indent="0">
              <a:buNone/>
              <a:defRPr/>
            </a:lvl3pPr>
          </a:lstStyle>
          <a:p>
            <a:pPr lvl="0"/>
            <a:r>
              <a:rPr lang="en-US" noProof="0" dirty="0"/>
              <a:t>No.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31760905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0126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>
          <a:xfrm>
            <a:off x="0" y="1414800"/>
            <a:ext cx="12191999" cy="4752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71905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9633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6953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76370656-D639-4E4F-858E-95D5F039AB4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25CE1A5C-9916-4F19-AAA4-EDA02A87A1B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841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/>
            </a:lvl1pPr>
          </a:lstStyle>
          <a:p>
            <a:r>
              <a:rPr lang="en-US" dirty="0"/>
              <a:t>Click on the icon to add a </a:t>
            </a:r>
            <a:br>
              <a:rPr lang="en-US" dirty="0"/>
            </a:br>
            <a:r>
              <a:rPr lang="en-US" dirty="0"/>
              <a:t>sufficiently high-contrast image </a:t>
            </a:r>
            <a:br>
              <a:rPr lang="en-US" dirty="0"/>
            </a:br>
            <a:r>
              <a:rPr lang="en-US" dirty="0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1681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on the icon to add a </a:t>
            </a:r>
            <a:br>
              <a:rPr lang="en-US" dirty="0"/>
            </a:br>
            <a:r>
              <a:rPr lang="en-US" dirty="0"/>
              <a:t>sufficiently high-contrast image </a:t>
            </a:r>
            <a:br>
              <a:rPr lang="en-US" dirty="0"/>
            </a:br>
            <a:r>
              <a:rPr lang="en-US" dirty="0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lIns="626400" tIns="900000" rIns="0" bIns="0" anchor="t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ig statement on a full size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193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8842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0920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License statement">
            <a:extLst>
              <a:ext uri="{FF2B5EF4-FFF2-40B4-BE49-F238E27FC236}">
                <a16:creationId xmlns:a16="http://schemas.microsoft.com/office/drawing/2014/main" id="{8A8BFD76-D6D8-4CF7-9953-B1C9C522963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9696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4527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011631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49540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35655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0484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990571EA-906B-4464-A50B-507D49D861B2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BB81BE19-DE56-4F9F-AB66-D4BBF7C2708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652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69049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8334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/>
              <a:t>M. Knight | SE EU GB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359290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AC9B5110-BC98-411C-9BCB-2AFF35E6D9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Matthew Knigh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2020-11-03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DE1CCC5F-D082-4285-B0D2-D44B0385F4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9" name="License statement">
            <a:extLst>
              <a:ext uri="{FF2B5EF4-FFF2-40B4-BE49-F238E27FC236}">
                <a16:creationId xmlns:a16="http://schemas.microsoft.com/office/drawing/2014/main" id="{F7180AC6-B789-4E8E-A386-018ABF4ECC8C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</p:spTree>
    <p:extLst>
      <p:ext uri="{BB962C8B-B14F-4D97-AF65-F5344CB8AC3E}">
        <p14:creationId xmlns:p14="http://schemas.microsoft.com/office/powerpoint/2010/main" val="333590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B8F676D-0405-45AE-9B8F-716387B4760E}"/>
              </a:ext>
            </a:extLst>
          </p:cNvPr>
          <p:cNvSpPr/>
          <p:nvPr userDrawn="1"/>
        </p:nvSpPr>
        <p:spPr bwMode="invGray">
          <a:xfrm>
            <a:off x="-2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E256BF8-2AEF-4ECB-8D5E-2926EB050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CA3F32E1-BC1C-475E-99E6-0E8AF47DA2D2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8" name="Copyright">
            <a:extLst>
              <a:ext uri="{FF2B5EF4-FFF2-40B4-BE49-F238E27FC236}">
                <a16:creationId xmlns:a16="http://schemas.microsoft.com/office/drawing/2014/main" id="{39F2375B-D22F-4C21-B117-6F14EB872B3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9" name="Page">
            <a:extLst>
              <a:ext uri="{FF2B5EF4-FFF2-40B4-BE49-F238E27FC236}">
                <a16:creationId xmlns:a16="http://schemas.microsoft.com/office/drawing/2014/main" id="{DCCDEAC1-13C2-4322-816D-0489681B6D17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276739E7-354E-4450-8E41-F018556F4A4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1936371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97" t="-4" r="1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bg1"/>
                </a:solidFill>
              </a:rPr>
              <a:t>M. Knight | SE EU GB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bg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#›</a:t>
            </a:fld>
            <a:endParaRPr lang="en-US" sz="1000" b="1" noProof="0" dirty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2269700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 userDrawn="1">
          <p15:clr>
            <a:srgbClr val="009999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bg2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bg2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2"/>
                </a:solidFill>
              </a:rPr>
              <a:t>‹#›</a:t>
            </a:fld>
            <a:endParaRPr lang="en-US" sz="1000" b="1" noProof="0" dirty="0">
              <a:solidFill>
                <a:schemeClr val="bg2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3063452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 userDrawn="1">
          <p15:clr>
            <a:srgbClr val="009999"/>
          </p15:clr>
        </p15:guide>
        <p15:guide id="4" pos="3445" userDrawn="1">
          <p15:clr>
            <a:srgbClr val="009999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49" t="-4" r="1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292000" y="6166800"/>
            <a:ext cx="900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bg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3556039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 userDrawn="1">
          <p15:clr>
            <a:srgbClr val="009999"/>
          </p15:clr>
        </p15:guide>
        <p15:guide id="3" pos="3057" userDrawn="1">
          <p15:clr>
            <a:srgbClr val="009999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 bwMode="invGray"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bg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4247169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 userDrawn="1">
          <p15:clr>
            <a:srgbClr val="009999"/>
          </p15:clr>
        </p15:guide>
        <p15:guide id="3" pos="3058" userDrawn="1">
          <p15:clr>
            <a:srgbClr val="009999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56"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Author | Department">
            <a:extLst>
              <a:ext uri="{FF2B5EF4-FFF2-40B4-BE49-F238E27FC236}">
                <a16:creationId xmlns:a16="http://schemas.microsoft.com/office/drawing/2014/main" id="{AF33B1C0-2E11-42BC-A97B-DF29BD3B97B8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17" name="Copyright">
            <a:extLst>
              <a:ext uri="{FF2B5EF4-FFF2-40B4-BE49-F238E27FC236}">
                <a16:creationId xmlns:a16="http://schemas.microsoft.com/office/drawing/2014/main" id="{C6BE5120-1513-4265-A6B3-3B42254A34FF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</p:spTree>
    <p:extLst>
      <p:ext uri="{BB962C8B-B14F-4D97-AF65-F5344CB8AC3E}">
        <p14:creationId xmlns:p14="http://schemas.microsoft.com/office/powerpoint/2010/main" val="2972842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">
            <a:extLst>
              <a:ext uri="{FF2B5EF4-FFF2-40B4-BE49-F238E27FC236}">
                <a16:creationId xmlns:a16="http://schemas.microsoft.com/office/drawing/2014/main" id="{6FE31343-DBA1-4E1C-B310-3652C708D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20" name="Copyright">
            <a:extLst>
              <a:ext uri="{FF2B5EF4-FFF2-40B4-BE49-F238E27FC236}">
                <a16:creationId xmlns:a16="http://schemas.microsoft.com/office/drawing/2014/main" id="{D9F34F5F-2345-489B-AB7D-E407430D36F8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4BDFE179-90A8-4E57-BD6D-D55F6E97F6BE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ABE4E0-FB97-4BF6-9DC1-70C06300921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22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ontact information</a:t>
            </a:r>
          </a:p>
          <a:p>
            <a:pPr lvl="1"/>
            <a:r>
              <a:rPr lang="en-US" noProof="0" dirty="0"/>
              <a:t>First name Last name</a:t>
            </a:r>
          </a:p>
          <a:p>
            <a:pPr lvl="2"/>
            <a:r>
              <a:rPr lang="en-US" noProof="0" dirty="0"/>
              <a:t>Additional information</a:t>
            </a:r>
          </a:p>
          <a:p>
            <a:pPr lvl="3"/>
            <a:r>
              <a:rPr lang="en-US" noProof="0" dirty="0"/>
              <a:t>Optional URL</a:t>
            </a:r>
          </a:p>
        </p:txBody>
      </p:sp>
      <p:sp>
        <p:nvSpPr>
          <p:cNvPr id="10" name="License statement">
            <a:extLst>
              <a:ext uri="{FF2B5EF4-FFF2-40B4-BE49-F238E27FC236}">
                <a16:creationId xmlns:a16="http://schemas.microsoft.com/office/drawing/2014/main" id="{7A9560F1-3DB3-46C0-AE0C-BFB3B1558722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2695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0000"/>
            <a:ext cx="8204689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527563031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extLst>
              <a:ext uri="{FF2B5EF4-FFF2-40B4-BE49-F238E27FC236}">
                <a16:creationId xmlns:a16="http://schemas.microsoft.com/office/drawing/2014/main" id="{FA11A8A9-D061-4109-B5C4-C3047D9EDE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invGray">
          <a:xfrm>
            <a:off x="0" y="428"/>
            <a:ext cx="12191999" cy="6857143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15" name="Copyright">
            <a:extLst>
              <a:ext uri="{FF2B5EF4-FFF2-40B4-BE49-F238E27FC236}">
                <a16:creationId xmlns:a16="http://schemas.microsoft.com/office/drawing/2014/main" id="{43B07ABE-0FDD-4360-94CB-BE49F6F0B457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8" name="License statement">
            <a:extLst>
              <a:ext uri="{FF2B5EF4-FFF2-40B4-BE49-F238E27FC236}">
                <a16:creationId xmlns:a16="http://schemas.microsoft.com/office/drawing/2014/main" id="{C0045C3A-1F21-44D0-8D93-8AC33A04C18C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B76785D-9D19-41C9-8176-187EE5D79A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381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">
            <a:extLst>
              <a:ext uri="{FF2B5EF4-FFF2-40B4-BE49-F238E27FC236}">
                <a16:creationId xmlns:a16="http://schemas.microsoft.com/office/drawing/2014/main" id="{B5D6BABE-C707-41BC-BD10-0E77470B4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9322" t="21730" r="39007" b="36603"/>
          <a:stretch/>
        </p:blipFill>
        <p:spPr bwMode="invGray">
          <a:xfrm>
            <a:off x="1361" y="421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0108D4AB-9688-41D1-B0EE-85800E673924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1" name="License statement">
            <a:extLst>
              <a:ext uri="{FF2B5EF4-FFF2-40B4-BE49-F238E27FC236}">
                <a16:creationId xmlns:a16="http://schemas.microsoft.com/office/drawing/2014/main" id="{212F44C2-86F0-4F8F-80A6-4ED7F591836A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1DC56BA1-A850-4AE0-A568-3D4B1B2442B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541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048807C0-F913-457F-BC6F-5FF8BB950F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17845" t="23917" r="40484" b="34416"/>
          <a:stretch/>
        </p:blipFill>
        <p:spPr bwMode="invGray">
          <a:xfrm>
            <a:off x="0" y="636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1DE39B38-513C-4C4B-9F03-FC4B2D200743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B1801D01-5487-4711-ADA6-1F6955CFB9B8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8DBB9C8C-1FFC-4C10-8923-5BB14464CDF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521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">
            <a:extLst>
              <a:ext uri="{FF2B5EF4-FFF2-40B4-BE49-F238E27FC236}">
                <a16:creationId xmlns:a16="http://schemas.microsoft.com/office/drawing/2014/main" id="{53CB57DE-2231-4FB5-89CE-5E957E5B7E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20183" t="26979" r="38146" b="31354"/>
          <a:stretch/>
        </p:blipFill>
        <p:spPr bwMode="invGray">
          <a:xfrm>
            <a:off x="1358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DB1A54EC-A3D1-455B-9B10-BD6E66386C62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856ED8E8-9807-4F50-A174-877DAAC140D0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56610667-D1F1-4DB1-8951-934EF4B90C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459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">
            <a:extLst>
              <a:ext uri="{FF2B5EF4-FFF2-40B4-BE49-F238E27FC236}">
                <a16:creationId xmlns:a16="http://schemas.microsoft.com/office/drawing/2014/main" id="{CDC7F29D-098B-44AE-92AB-834812CDDF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21675" t="21705" r="36127" b="36101"/>
          <a:stretch/>
        </p:blipFill>
        <p:spPr bwMode="invGray">
          <a:xfrm>
            <a:off x="0" y="424"/>
            <a:ext cx="121932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5616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of presentation,</a:t>
            </a:r>
            <a:br>
              <a:rPr lang="en-US" dirty="0"/>
            </a:br>
            <a:r>
              <a:rPr lang="en-US" dirty="0"/>
              <a:t>English, Month 2020</a:t>
            </a:r>
          </a:p>
        </p:txBody>
      </p:sp>
      <p:sp>
        <p:nvSpPr>
          <p:cNvPr id="20" name="Author | Department">
            <a:extLst>
              <a:ext uri="{FF2B5EF4-FFF2-40B4-BE49-F238E27FC236}">
                <a16:creationId xmlns:a16="http://schemas.microsoft.com/office/drawing/2014/main" id="{B5C9B423-8001-4689-BDBF-2B86ECB92366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Author | Department</a:t>
            </a:r>
          </a:p>
        </p:txBody>
      </p:sp>
      <p:sp>
        <p:nvSpPr>
          <p:cNvPr id="21" name="Copyright">
            <a:extLst>
              <a:ext uri="{FF2B5EF4-FFF2-40B4-BE49-F238E27FC236}">
                <a16:creationId xmlns:a16="http://schemas.microsoft.com/office/drawing/2014/main" id="{71CD5254-1CE6-48F0-ABFF-AA178A1005B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>
                <a:solidFill>
                  <a:schemeClr val="tx1"/>
                </a:solidFill>
              </a:rPr>
              <a:t>Restricted © Siemens Energy, 2020</a:t>
            </a:r>
          </a:p>
        </p:txBody>
      </p:sp>
      <p:sp>
        <p:nvSpPr>
          <p:cNvPr id="22" name="Page">
            <a:extLst>
              <a:ext uri="{FF2B5EF4-FFF2-40B4-BE49-F238E27FC236}">
                <a16:creationId xmlns:a16="http://schemas.microsoft.com/office/drawing/2014/main" id="{C287CBD3-96E7-4B61-B6DD-46430F096AD8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 dirty="0">
              <a:solidFill>
                <a:schemeClr val="tx1"/>
              </a:solidFill>
            </a:endParaRPr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6087BB6B-DC15-4BC4-A21C-1782CB4DA41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tx1"/>
                </a:solidFill>
              </a:rPr>
              <a:t>YYYY-MM-DD</a:t>
            </a:r>
          </a:p>
        </p:txBody>
      </p:sp>
      <p:sp>
        <p:nvSpPr>
          <p:cNvPr id="15" name="License statement">
            <a:extLst>
              <a:ext uri="{FF2B5EF4-FFF2-40B4-BE49-F238E27FC236}">
                <a16:creationId xmlns:a16="http://schemas.microsoft.com/office/drawing/2014/main" id="{E9F4ECED-AAEC-41AE-AE05-A9B81D388383}"/>
              </a:ext>
            </a:extLst>
          </p:cNvPr>
          <p:cNvSpPr txBox="1"/>
          <p:nvPr userDrawn="1"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F208A3C6-5ED3-47CD-95C4-12C8971DEF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02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Author | Department">
            <a:extLst>
              <a:ext uri="{FF2B5EF4-FFF2-40B4-BE49-F238E27FC236}">
                <a16:creationId xmlns:a16="http://schemas.microsoft.com/office/drawing/2014/main" id="{47D1BF6C-5F09-4F64-A9AC-A5B1F1AC9DC5}"/>
              </a:ext>
            </a:extLst>
          </p:cNvPr>
          <p:cNvSpPr txBox="1"/>
          <p:nvPr userDrawn="1"/>
        </p:nvSpPr>
        <p:spPr>
          <a:xfrm>
            <a:off x="6242050" y="6166800"/>
            <a:ext cx="5949950" cy="360000"/>
          </a:xfrm>
          <a:prstGeom prst="rect">
            <a:avLst/>
          </a:prstGeom>
          <a:noFill/>
        </p:spPr>
        <p:txBody>
          <a:bodyPr wrap="square" lIns="0" tIns="0" rIns="835200" bIns="36000" rtlCol="0" anchor="b">
            <a:noAutofit/>
          </a:bodyPr>
          <a:lstStyle/>
          <a:p>
            <a:pPr algn="r"/>
            <a:r>
              <a:rPr lang="en-US" sz="1000" b="0" noProof="0" dirty="0"/>
              <a:t>Matthew Knight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 dirty="0"/>
              <a:t>Unrestricted © Siemens Energy, 2020</a:t>
            </a:r>
          </a:p>
        </p:txBody>
      </p:sp>
      <p:sp>
        <p:nvSpPr>
          <p:cNvPr id="16" name="Page">
            <a:extLst>
              <a:ext uri="{FF2B5EF4-FFF2-40B4-BE49-F238E27FC236}">
                <a16:creationId xmlns:a16="http://schemas.microsoft.com/office/drawing/2014/main" id="{ADCE6DE1-D72A-4960-AD36-50AAB9FC6372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/>
              <a:t>‹#›</a:t>
            </a:fld>
            <a:endParaRPr lang="en-US" sz="1000" b="1" noProof="0" dirty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dirty="0"/>
              <a:t>2020-11-03</a:t>
            </a:r>
          </a:p>
        </p:txBody>
      </p:sp>
    </p:spTree>
    <p:extLst>
      <p:ext uri="{BB962C8B-B14F-4D97-AF65-F5344CB8AC3E}">
        <p14:creationId xmlns:p14="http://schemas.microsoft.com/office/powerpoint/2010/main" val="263697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84" r:id="rId2"/>
    <p:sldLayoutId id="2147483686" r:id="rId3"/>
    <p:sldLayoutId id="2147483687" r:id="rId4"/>
    <p:sldLayoutId id="2147483649" r:id="rId5"/>
    <p:sldLayoutId id="2147483661" r:id="rId6"/>
    <p:sldLayoutId id="2147483689" r:id="rId7"/>
    <p:sldLayoutId id="2147483691" r:id="rId8"/>
    <p:sldLayoutId id="2147483692" r:id="rId9"/>
    <p:sldLayoutId id="2147483662" r:id="rId10"/>
    <p:sldLayoutId id="2147483681" r:id="rId11"/>
    <p:sldLayoutId id="2147483682" r:id="rId12"/>
    <p:sldLayoutId id="2147483663" r:id="rId13"/>
    <p:sldLayoutId id="2147483664" r:id="rId14"/>
    <p:sldLayoutId id="2147483683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88" r:id="rId21"/>
    <p:sldLayoutId id="2147483650" r:id="rId22"/>
    <p:sldLayoutId id="2147483671" r:id="rId23"/>
    <p:sldLayoutId id="2147483700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77" r:id="rId30"/>
    <p:sldLayoutId id="2147483678" r:id="rId31"/>
    <p:sldLayoutId id="2147483670" r:id="rId32"/>
    <p:sldLayoutId id="2147483701" r:id="rId33"/>
    <p:sldLayoutId id="2147483680" r:id="rId34"/>
    <p:sldLayoutId id="2147483698" r:id="rId35"/>
    <p:sldLayoutId id="2147483699" r:id="rId36"/>
    <p:sldLayoutId id="2147483696" r:id="rId37"/>
    <p:sldLayoutId id="2147483697" r:id="rId38"/>
    <p:sldLayoutId id="2147483693" r:id="rId39"/>
    <p:sldLayoutId id="2147483679" r:id="rId40"/>
    <p:sldLayoutId id="2147483702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 userDrawn="1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tags" Target="../tags/tag4.xml"/><Relationship Id="rId21" Type="http://schemas.openxmlformats.org/officeDocument/2006/relationships/image" Target="../media/image29.png"/><Relationship Id="rId7" Type="http://schemas.openxmlformats.org/officeDocument/2006/relationships/image" Target="../media/image16.emf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tags" Target="../tags/tag3.xml"/><Relationship Id="rId16" Type="http://schemas.openxmlformats.org/officeDocument/2006/relationships/image" Target="../media/image25.png"/><Relationship Id="rId20" Type="http://schemas.openxmlformats.org/officeDocument/2006/relationships/image" Target="../media/image7.emf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19" Type="http://schemas.openxmlformats.org/officeDocument/2006/relationships/image" Target="../media/image28.emf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038E72CC-385E-4BD8-8999-AEE4C70B83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2" y="1414800"/>
            <a:ext cx="5809952" cy="3114000"/>
          </a:xfrm>
        </p:spPr>
        <p:txBody>
          <a:bodyPr/>
          <a:lstStyle/>
          <a:p>
            <a:r>
              <a:rPr lang="en-US" b="0" dirty="0"/>
              <a:t>Speed and Scale II The race for hydrogen</a:t>
            </a:r>
            <a:endParaRPr lang="en-US" b="0" noProof="0" dirty="0"/>
          </a:p>
        </p:txBody>
      </p:sp>
      <p:sp>
        <p:nvSpPr>
          <p:cNvPr id="5" name="Subhead">
            <a:extLst>
              <a:ext uri="{FF2B5EF4-FFF2-40B4-BE49-F238E27FC236}">
                <a16:creationId xmlns:a16="http://schemas.microsoft.com/office/drawing/2014/main" id="{75C10A5A-A3FB-41E8-BF5A-C06EBABD4EB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/>
              <a:t>November 2020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94A059-E54B-4FD0-B895-7C3A6755859B}"/>
              </a:ext>
            </a:extLst>
          </p:cNvPr>
          <p:cNvSpPr/>
          <p:nvPr/>
        </p:nvSpPr>
        <p:spPr>
          <a:xfrm>
            <a:off x="0" y="6654056"/>
            <a:ext cx="127000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GB" sz="1000">
                <a:solidFill>
                  <a:srgbClr val="000000"/>
                </a:solidFill>
              </a:rPr>
              <a:t>Restricted</a:t>
            </a: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276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69CE2-9C37-4197-9C62-8F721321C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Net Zero by 2050 means for the UK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AA554D-4C41-4DF2-9190-C93469F6E62F}"/>
              </a:ext>
            </a:extLst>
          </p:cNvPr>
          <p:cNvSpPr/>
          <p:nvPr/>
        </p:nvSpPr>
        <p:spPr>
          <a:xfrm>
            <a:off x="3851708" y="6046931"/>
            <a:ext cx="4488584" cy="294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GB" sz="1000" dirty="0"/>
              <a:t>Figures adapted from The Committee on Climate Change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678C0A1-1AE3-40EE-AE24-C6B8F9B744CA}"/>
              </a:ext>
            </a:extLst>
          </p:cNvPr>
          <p:cNvGrpSpPr/>
          <p:nvPr/>
        </p:nvGrpSpPr>
        <p:grpSpPr>
          <a:xfrm>
            <a:off x="630532" y="1351356"/>
            <a:ext cx="1847441" cy="894803"/>
            <a:chOff x="630532" y="1543104"/>
            <a:chExt cx="1847441" cy="894803"/>
          </a:xfrm>
        </p:grpSpPr>
        <p:grpSp>
          <p:nvGrpSpPr>
            <p:cNvPr id="7" name="Icon 18">
              <a:extLst>
                <a:ext uri="{FF2B5EF4-FFF2-40B4-BE49-F238E27FC236}">
                  <a16:creationId xmlns:a16="http://schemas.microsoft.com/office/drawing/2014/main" id="{DEA333FA-73F4-494D-AA8B-CDB64CBD5FAB}"/>
                </a:ext>
              </a:extLst>
            </p:cNvPr>
            <p:cNvGrpSpPr/>
            <p:nvPr/>
          </p:nvGrpSpPr>
          <p:grpSpPr>
            <a:xfrm>
              <a:off x="1158965" y="1543104"/>
              <a:ext cx="790575" cy="792162"/>
              <a:chOff x="8315171" y="2986856"/>
              <a:chExt cx="790575" cy="792162"/>
            </a:xfrm>
          </p:grpSpPr>
          <p:sp>
            <p:nvSpPr>
              <p:cNvPr id="8" name="AutoShape 31">
                <a:extLst>
                  <a:ext uri="{FF2B5EF4-FFF2-40B4-BE49-F238E27FC236}">
                    <a16:creationId xmlns:a16="http://schemas.microsoft.com/office/drawing/2014/main" id="{61BF808B-7358-4BC0-91A8-939F034147C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8315171" y="2986856"/>
                <a:ext cx="790575" cy="79216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accent2"/>
                  </a:solidFill>
                </a:endParaRPr>
              </a:p>
            </p:txBody>
          </p:sp>
          <p:sp>
            <p:nvSpPr>
              <p:cNvPr id="9" name="Freeform 33">
                <a:extLst>
                  <a:ext uri="{FF2B5EF4-FFF2-40B4-BE49-F238E27FC236}">
                    <a16:creationId xmlns:a16="http://schemas.microsoft.com/office/drawing/2014/main" id="{54B8692B-799A-4FE6-9E8C-B3DD86B89A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6471" y="3167831"/>
                <a:ext cx="277813" cy="436562"/>
              </a:xfrm>
              <a:custGeom>
                <a:avLst/>
                <a:gdLst>
                  <a:gd name="T0" fmla="*/ 2173 w 2173"/>
                  <a:gd name="T1" fmla="*/ 0 h 3402"/>
                  <a:gd name="T2" fmla="*/ 1134 w 2173"/>
                  <a:gd name="T3" fmla="*/ 0 h 3402"/>
                  <a:gd name="T4" fmla="*/ 425 w 2173"/>
                  <a:gd name="T5" fmla="*/ 1567 h 3402"/>
                  <a:gd name="T6" fmla="*/ 911 w 2173"/>
                  <a:gd name="T7" fmla="*/ 1529 h 3402"/>
                  <a:gd name="T8" fmla="*/ 0 w 2173"/>
                  <a:gd name="T9" fmla="*/ 3402 h 3402"/>
                  <a:gd name="T10" fmla="*/ 2078 w 2173"/>
                  <a:gd name="T11" fmla="*/ 899 h 3402"/>
                  <a:gd name="T12" fmla="*/ 1416 w 2173"/>
                  <a:gd name="T13" fmla="*/ 944 h 3402"/>
                  <a:gd name="T14" fmla="*/ 2173 w 2173"/>
                  <a:gd name="T15" fmla="*/ 0 h 3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73" h="3402">
                    <a:moveTo>
                      <a:pt x="2173" y="0"/>
                    </a:moveTo>
                    <a:lnTo>
                      <a:pt x="1134" y="0"/>
                    </a:lnTo>
                    <a:lnTo>
                      <a:pt x="425" y="1567"/>
                    </a:lnTo>
                    <a:lnTo>
                      <a:pt x="911" y="1529"/>
                    </a:lnTo>
                    <a:lnTo>
                      <a:pt x="0" y="3402"/>
                    </a:lnTo>
                    <a:lnTo>
                      <a:pt x="2078" y="899"/>
                    </a:lnTo>
                    <a:lnTo>
                      <a:pt x="1416" y="944"/>
                    </a:lnTo>
                    <a:lnTo>
                      <a:pt x="2173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0DFCEAB-A599-439D-96DA-3B1FB6971780}"/>
                </a:ext>
              </a:extLst>
            </p:cNvPr>
            <p:cNvSpPr txBox="1"/>
            <p:nvPr/>
          </p:nvSpPr>
          <p:spPr>
            <a:xfrm>
              <a:off x="630532" y="2159464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Electricity System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D080F53-9468-4312-88AB-991D046F2A54}"/>
              </a:ext>
            </a:extLst>
          </p:cNvPr>
          <p:cNvGrpSpPr/>
          <p:nvPr/>
        </p:nvGrpSpPr>
        <p:grpSpPr>
          <a:xfrm>
            <a:off x="630532" y="3177751"/>
            <a:ext cx="1847441" cy="894803"/>
            <a:chOff x="630532" y="3498454"/>
            <a:chExt cx="1847441" cy="894803"/>
          </a:xfrm>
        </p:grpSpPr>
        <p:grpSp>
          <p:nvGrpSpPr>
            <p:cNvPr id="10" name="Icon 38">
              <a:extLst>
                <a:ext uri="{FF2B5EF4-FFF2-40B4-BE49-F238E27FC236}">
                  <a16:creationId xmlns:a16="http://schemas.microsoft.com/office/drawing/2014/main" id="{0C8875E5-BCA3-4F16-A94C-F7AC5EBC19A7}"/>
                </a:ext>
              </a:extLst>
            </p:cNvPr>
            <p:cNvGrpSpPr/>
            <p:nvPr/>
          </p:nvGrpSpPr>
          <p:grpSpPr>
            <a:xfrm>
              <a:off x="1158965" y="3498454"/>
              <a:ext cx="790575" cy="792162"/>
              <a:chOff x="8314041" y="5050606"/>
              <a:chExt cx="790575" cy="792162"/>
            </a:xfrm>
          </p:grpSpPr>
          <p:sp>
            <p:nvSpPr>
              <p:cNvPr id="11" name="AutoShape 391">
                <a:extLst>
                  <a:ext uri="{FF2B5EF4-FFF2-40B4-BE49-F238E27FC236}">
                    <a16:creationId xmlns:a16="http://schemas.microsoft.com/office/drawing/2014/main" id="{0F50ED02-204D-418C-BB5D-EF6E429A740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8314041" y="5050606"/>
                <a:ext cx="790575" cy="79216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2" name="Freeform 393">
                <a:extLst>
                  <a:ext uri="{FF2B5EF4-FFF2-40B4-BE49-F238E27FC236}">
                    <a16:creationId xmlns:a16="http://schemas.microsoft.com/office/drawing/2014/main" id="{C2418A35-95C6-48D9-BB7A-52BE83570C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60104" y="5220468"/>
                <a:ext cx="328613" cy="411162"/>
              </a:xfrm>
              <a:custGeom>
                <a:avLst/>
                <a:gdLst>
                  <a:gd name="T0" fmla="*/ 1935 w 2572"/>
                  <a:gd name="T1" fmla="*/ 2644 h 3212"/>
                  <a:gd name="T2" fmla="*/ 1738 w 2572"/>
                  <a:gd name="T3" fmla="*/ 2644 h 3212"/>
                  <a:gd name="T4" fmla="*/ 1427 w 2572"/>
                  <a:gd name="T5" fmla="*/ 2644 h 3212"/>
                  <a:gd name="T6" fmla="*/ 1177 w 2572"/>
                  <a:gd name="T7" fmla="*/ 2675 h 3212"/>
                  <a:gd name="T8" fmla="*/ 1101 w 2572"/>
                  <a:gd name="T9" fmla="*/ 2614 h 3212"/>
                  <a:gd name="T10" fmla="*/ 1328 w 2572"/>
                  <a:gd name="T11" fmla="*/ 2504 h 3212"/>
                  <a:gd name="T12" fmla="*/ 1582 w 2572"/>
                  <a:gd name="T13" fmla="*/ 2615 h 3212"/>
                  <a:gd name="T14" fmla="*/ 1836 w 2572"/>
                  <a:gd name="T15" fmla="*/ 2504 h 3212"/>
                  <a:gd name="T16" fmla="*/ 2090 w 2572"/>
                  <a:gd name="T17" fmla="*/ 2615 h 3212"/>
                  <a:gd name="T18" fmla="*/ 2344 w 2572"/>
                  <a:gd name="T19" fmla="*/ 2504 h 3212"/>
                  <a:gd name="T20" fmla="*/ 2572 w 2572"/>
                  <a:gd name="T21" fmla="*/ 2614 h 3212"/>
                  <a:gd name="T22" fmla="*/ 2496 w 2572"/>
                  <a:gd name="T23" fmla="*/ 2675 h 3212"/>
                  <a:gd name="T24" fmla="*/ 2246 w 2572"/>
                  <a:gd name="T25" fmla="*/ 2644 h 3212"/>
                  <a:gd name="T26" fmla="*/ 2090 w 2572"/>
                  <a:gd name="T27" fmla="*/ 2961 h 3212"/>
                  <a:gd name="T28" fmla="*/ 1836 w 2572"/>
                  <a:gd name="T29" fmla="*/ 2850 h 3212"/>
                  <a:gd name="T30" fmla="*/ 1582 w 2572"/>
                  <a:gd name="T31" fmla="*/ 2961 h 3212"/>
                  <a:gd name="T32" fmla="*/ 1328 w 2572"/>
                  <a:gd name="T33" fmla="*/ 2850 h 3212"/>
                  <a:gd name="T34" fmla="*/ 1158 w 2572"/>
                  <a:gd name="T35" fmla="*/ 2940 h 3212"/>
                  <a:gd name="T36" fmla="*/ 1119 w 2572"/>
                  <a:gd name="T37" fmla="*/ 2852 h 3212"/>
                  <a:gd name="T38" fmla="*/ 1484 w 2572"/>
                  <a:gd name="T39" fmla="*/ 2820 h 3212"/>
                  <a:gd name="T40" fmla="*/ 1681 w 2572"/>
                  <a:gd name="T41" fmla="*/ 2820 h 3212"/>
                  <a:gd name="T42" fmla="*/ 1992 w 2572"/>
                  <a:gd name="T43" fmla="*/ 2820 h 3212"/>
                  <a:gd name="T44" fmla="*/ 2189 w 2572"/>
                  <a:gd name="T45" fmla="*/ 2820 h 3212"/>
                  <a:gd name="T46" fmla="*/ 2554 w 2572"/>
                  <a:gd name="T47" fmla="*/ 2852 h 3212"/>
                  <a:gd name="T48" fmla="*/ 2515 w 2572"/>
                  <a:gd name="T49" fmla="*/ 2940 h 3212"/>
                  <a:gd name="T50" fmla="*/ 2344 w 2572"/>
                  <a:gd name="T51" fmla="*/ 2850 h 3212"/>
                  <a:gd name="T52" fmla="*/ 2090 w 2572"/>
                  <a:gd name="T53" fmla="*/ 2961 h 3212"/>
                  <a:gd name="T54" fmla="*/ 2344 w 2572"/>
                  <a:gd name="T55" fmla="*/ 3101 h 3212"/>
                  <a:gd name="T56" fmla="*/ 2515 w 2572"/>
                  <a:gd name="T57" fmla="*/ 3192 h 3212"/>
                  <a:gd name="T58" fmla="*/ 2554 w 2572"/>
                  <a:gd name="T59" fmla="*/ 3103 h 3212"/>
                  <a:gd name="T60" fmla="*/ 2189 w 2572"/>
                  <a:gd name="T61" fmla="*/ 3072 h 3212"/>
                  <a:gd name="T62" fmla="*/ 1992 w 2572"/>
                  <a:gd name="T63" fmla="*/ 3072 h 3212"/>
                  <a:gd name="T64" fmla="*/ 1681 w 2572"/>
                  <a:gd name="T65" fmla="*/ 3072 h 3212"/>
                  <a:gd name="T66" fmla="*/ 1484 w 2572"/>
                  <a:gd name="T67" fmla="*/ 3072 h 3212"/>
                  <a:gd name="T68" fmla="*/ 1119 w 2572"/>
                  <a:gd name="T69" fmla="*/ 3103 h 3212"/>
                  <a:gd name="T70" fmla="*/ 1158 w 2572"/>
                  <a:gd name="T71" fmla="*/ 3192 h 3212"/>
                  <a:gd name="T72" fmla="*/ 1328 w 2572"/>
                  <a:gd name="T73" fmla="*/ 3101 h 3212"/>
                  <a:gd name="T74" fmla="*/ 1582 w 2572"/>
                  <a:gd name="T75" fmla="*/ 3212 h 3212"/>
                  <a:gd name="T76" fmla="*/ 1836 w 2572"/>
                  <a:gd name="T77" fmla="*/ 3101 h 3212"/>
                  <a:gd name="T78" fmla="*/ 2090 w 2572"/>
                  <a:gd name="T79" fmla="*/ 3212 h 3212"/>
                  <a:gd name="T80" fmla="*/ 912 w 2572"/>
                  <a:gd name="T81" fmla="*/ 1501 h 3212"/>
                  <a:gd name="T82" fmla="*/ 723 w 2572"/>
                  <a:gd name="T83" fmla="*/ 2929 h 3212"/>
                  <a:gd name="T84" fmla="*/ 149 w 2572"/>
                  <a:gd name="T85" fmla="*/ 2591 h 3212"/>
                  <a:gd name="T86" fmla="*/ 616 w 2572"/>
                  <a:gd name="T87" fmla="*/ 1428 h 3212"/>
                  <a:gd name="T88" fmla="*/ 222 w 2572"/>
                  <a:gd name="T89" fmla="*/ 822 h 3212"/>
                  <a:gd name="T90" fmla="*/ 93 w 2572"/>
                  <a:gd name="T91" fmla="*/ 0 h 3212"/>
                  <a:gd name="T92" fmla="*/ 970 w 2572"/>
                  <a:gd name="T93" fmla="*/ 1067 h 3212"/>
                  <a:gd name="T94" fmla="*/ 1532 w 2572"/>
                  <a:gd name="T95" fmla="*/ 993 h 3212"/>
                  <a:gd name="T96" fmla="*/ 2296 w 2572"/>
                  <a:gd name="T97" fmla="*/ 1310 h 3212"/>
                  <a:gd name="T98" fmla="*/ 1021 w 2572"/>
                  <a:gd name="T99" fmla="*/ 1424 h 3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572" h="3212">
                    <a:moveTo>
                      <a:pt x="2090" y="2710"/>
                    </a:moveTo>
                    <a:cubicBezTo>
                      <a:pt x="2022" y="2710"/>
                      <a:pt x="1976" y="2675"/>
                      <a:pt x="1935" y="2644"/>
                    </a:cubicBezTo>
                    <a:cubicBezTo>
                      <a:pt x="1901" y="2619"/>
                      <a:pt x="1874" y="2598"/>
                      <a:pt x="1836" y="2598"/>
                    </a:cubicBezTo>
                    <a:cubicBezTo>
                      <a:pt x="1799" y="2598"/>
                      <a:pt x="1772" y="2619"/>
                      <a:pt x="1738" y="2644"/>
                    </a:cubicBezTo>
                    <a:cubicBezTo>
                      <a:pt x="1697" y="2675"/>
                      <a:pt x="1651" y="2710"/>
                      <a:pt x="1582" y="2710"/>
                    </a:cubicBezTo>
                    <a:cubicBezTo>
                      <a:pt x="1514" y="2710"/>
                      <a:pt x="1468" y="2675"/>
                      <a:pt x="1427" y="2644"/>
                    </a:cubicBezTo>
                    <a:cubicBezTo>
                      <a:pt x="1393" y="2619"/>
                      <a:pt x="1366" y="2598"/>
                      <a:pt x="1328" y="2598"/>
                    </a:cubicBezTo>
                    <a:cubicBezTo>
                      <a:pt x="1275" y="2598"/>
                      <a:pt x="1225" y="2637"/>
                      <a:pt x="1177" y="2675"/>
                    </a:cubicBezTo>
                    <a:cubicBezTo>
                      <a:pt x="1170" y="2679"/>
                      <a:pt x="1164" y="2684"/>
                      <a:pt x="1158" y="2689"/>
                    </a:cubicBezTo>
                    <a:lnTo>
                      <a:pt x="1101" y="2614"/>
                    </a:lnTo>
                    <a:cubicBezTo>
                      <a:pt x="1107" y="2609"/>
                      <a:pt x="1113" y="2605"/>
                      <a:pt x="1119" y="2600"/>
                    </a:cubicBezTo>
                    <a:cubicBezTo>
                      <a:pt x="1174" y="2557"/>
                      <a:pt x="1242" y="2504"/>
                      <a:pt x="1328" y="2504"/>
                    </a:cubicBezTo>
                    <a:cubicBezTo>
                      <a:pt x="1397" y="2504"/>
                      <a:pt x="1443" y="2539"/>
                      <a:pt x="1484" y="2569"/>
                    </a:cubicBezTo>
                    <a:cubicBezTo>
                      <a:pt x="1518" y="2595"/>
                      <a:pt x="1545" y="2615"/>
                      <a:pt x="1582" y="2615"/>
                    </a:cubicBezTo>
                    <a:cubicBezTo>
                      <a:pt x="1620" y="2615"/>
                      <a:pt x="1647" y="2595"/>
                      <a:pt x="1681" y="2569"/>
                    </a:cubicBezTo>
                    <a:cubicBezTo>
                      <a:pt x="1722" y="2539"/>
                      <a:pt x="1768" y="2504"/>
                      <a:pt x="1836" y="2504"/>
                    </a:cubicBezTo>
                    <a:cubicBezTo>
                      <a:pt x="1905" y="2504"/>
                      <a:pt x="1951" y="2539"/>
                      <a:pt x="1992" y="2569"/>
                    </a:cubicBezTo>
                    <a:cubicBezTo>
                      <a:pt x="2026" y="2595"/>
                      <a:pt x="2053" y="2615"/>
                      <a:pt x="2090" y="2615"/>
                    </a:cubicBezTo>
                    <a:cubicBezTo>
                      <a:pt x="2128" y="2615"/>
                      <a:pt x="2155" y="2595"/>
                      <a:pt x="2189" y="2569"/>
                    </a:cubicBezTo>
                    <a:cubicBezTo>
                      <a:pt x="2230" y="2539"/>
                      <a:pt x="2276" y="2504"/>
                      <a:pt x="2344" y="2504"/>
                    </a:cubicBezTo>
                    <a:cubicBezTo>
                      <a:pt x="2431" y="2504"/>
                      <a:pt x="2499" y="2557"/>
                      <a:pt x="2554" y="2600"/>
                    </a:cubicBezTo>
                    <a:cubicBezTo>
                      <a:pt x="2560" y="2605"/>
                      <a:pt x="2566" y="2609"/>
                      <a:pt x="2572" y="2614"/>
                    </a:cubicBezTo>
                    <a:lnTo>
                      <a:pt x="2515" y="2689"/>
                    </a:lnTo>
                    <a:cubicBezTo>
                      <a:pt x="2509" y="2684"/>
                      <a:pt x="2503" y="2679"/>
                      <a:pt x="2496" y="2675"/>
                    </a:cubicBezTo>
                    <a:cubicBezTo>
                      <a:pt x="2448" y="2637"/>
                      <a:pt x="2398" y="2598"/>
                      <a:pt x="2344" y="2598"/>
                    </a:cubicBezTo>
                    <a:cubicBezTo>
                      <a:pt x="2307" y="2598"/>
                      <a:pt x="2280" y="2619"/>
                      <a:pt x="2246" y="2644"/>
                    </a:cubicBezTo>
                    <a:cubicBezTo>
                      <a:pt x="2205" y="2675"/>
                      <a:pt x="2159" y="2710"/>
                      <a:pt x="2090" y="2710"/>
                    </a:cubicBezTo>
                    <a:close/>
                    <a:moveTo>
                      <a:pt x="2090" y="2961"/>
                    </a:moveTo>
                    <a:cubicBezTo>
                      <a:pt x="2022" y="2961"/>
                      <a:pt x="1976" y="2926"/>
                      <a:pt x="1935" y="2896"/>
                    </a:cubicBezTo>
                    <a:cubicBezTo>
                      <a:pt x="1901" y="2870"/>
                      <a:pt x="1874" y="2850"/>
                      <a:pt x="1836" y="2850"/>
                    </a:cubicBezTo>
                    <a:cubicBezTo>
                      <a:pt x="1799" y="2850"/>
                      <a:pt x="1772" y="2870"/>
                      <a:pt x="1738" y="2896"/>
                    </a:cubicBezTo>
                    <a:cubicBezTo>
                      <a:pt x="1697" y="2926"/>
                      <a:pt x="1651" y="2961"/>
                      <a:pt x="1582" y="2961"/>
                    </a:cubicBezTo>
                    <a:cubicBezTo>
                      <a:pt x="1514" y="2961"/>
                      <a:pt x="1468" y="2926"/>
                      <a:pt x="1427" y="2896"/>
                    </a:cubicBezTo>
                    <a:cubicBezTo>
                      <a:pt x="1393" y="2870"/>
                      <a:pt x="1366" y="2850"/>
                      <a:pt x="1328" y="2850"/>
                    </a:cubicBezTo>
                    <a:cubicBezTo>
                      <a:pt x="1275" y="2850"/>
                      <a:pt x="1225" y="2889"/>
                      <a:pt x="1177" y="2926"/>
                    </a:cubicBezTo>
                    <a:cubicBezTo>
                      <a:pt x="1170" y="2931"/>
                      <a:pt x="1164" y="2936"/>
                      <a:pt x="1158" y="2940"/>
                    </a:cubicBezTo>
                    <a:lnTo>
                      <a:pt x="1101" y="2865"/>
                    </a:lnTo>
                    <a:cubicBezTo>
                      <a:pt x="1107" y="2861"/>
                      <a:pt x="1113" y="2856"/>
                      <a:pt x="1119" y="2852"/>
                    </a:cubicBezTo>
                    <a:cubicBezTo>
                      <a:pt x="1174" y="2809"/>
                      <a:pt x="1242" y="2755"/>
                      <a:pt x="1328" y="2755"/>
                    </a:cubicBezTo>
                    <a:cubicBezTo>
                      <a:pt x="1397" y="2755"/>
                      <a:pt x="1443" y="2790"/>
                      <a:pt x="1484" y="2820"/>
                    </a:cubicBezTo>
                    <a:cubicBezTo>
                      <a:pt x="1518" y="2846"/>
                      <a:pt x="1545" y="2867"/>
                      <a:pt x="1582" y="2867"/>
                    </a:cubicBezTo>
                    <a:cubicBezTo>
                      <a:pt x="1620" y="2867"/>
                      <a:pt x="1647" y="2846"/>
                      <a:pt x="1681" y="2820"/>
                    </a:cubicBezTo>
                    <a:cubicBezTo>
                      <a:pt x="1722" y="2790"/>
                      <a:pt x="1768" y="2755"/>
                      <a:pt x="1836" y="2755"/>
                    </a:cubicBezTo>
                    <a:cubicBezTo>
                      <a:pt x="1905" y="2755"/>
                      <a:pt x="1951" y="2790"/>
                      <a:pt x="1992" y="2820"/>
                    </a:cubicBezTo>
                    <a:cubicBezTo>
                      <a:pt x="2026" y="2846"/>
                      <a:pt x="2053" y="2867"/>
                      <a:pt x="2090" y="2867"/>
                    </a:cubicBezTo>
                    <a:cubicBezTo>
                      <a:pt x="2128" y="2867"/>
                      <a:pt x="2155" y="2846"/>
                      <a:pt x="2189" y="2820"/>
                    </a:cubicBezTo>
                    <a:cubicBezTo>
                      <a:pt x="2230" y="2790"/>
                      <a:pt x="2276" y="2755"/>
                      <a:pt x="2344" y="2755"/>
                    </a:cubicBezTo>
                    <a:cubicBezTo>
                      <a:pt x="2431" y="2755"/>
                      <a:pt x="2499" y="2809"/>
                      <a:pt x="2554" y="2852"/>
                    </a:cubicBezTo>
                    <a:cubicBezTo>
                      <a:pt x="2560" y="2856"/>
                      <a:pt x="2566" y="2861"/>
                      <a:pt x="2572" y="2865"/>
                    </a:cubicBezTo>
                    <a:lnTo>
                      <a:pt x="2515" y="2940"/>
                    </a:lnTo>
                    <a:cubicBezTo>
                      <a:pt x="2509" y="2936"/>
                      <a:pt x="2503" y="2931"/>
                      <a:pt x="2496" y="2926"/>
                    </a:cubicBezTo>
                    <a:cubicBezTo>
                      <a:pt x="2448" y="2889"/>
                      <a:pt x="2398" y="2850"/>
                      <a:pt x="2344" y="2850"/>
                    </a:cubicBezTo>
                    <a:cubicBezTo>
                      <a:pt x="2307" y="2850"/>
                      <a:pt x="2280" y="2870"/>
                      <a:pt x="2246" y="2896"/>
                    </a:cubicBezTo>
                    <a:cubicBezTo>
                      <a:pt x="2205" y="2926"/>
                      <a:pt x="2159" y="2961"/>
                      <a:pt x="2090" y="2961"/>
                    </a:cubicBezTo>
                    <a:close/>
                    <a:moveTo>
                      <a:pt x="2246" y="3147"/>
                    </a:moveTo>
                    <a:cubicBezTo>
                      <a:pt x="2280" y="3122"/>
                      <a:pt x="2307" y="3101"/>
                      <a:pt x="2344" y="3101"/>
                    </a:cubicBezTo>
                    <a:cubicBezTo>
                      <a:pt x="2398" y="3101"/>
                      <a:pt x="2448" y="3140"/>
                      <a:pt x="2496" y="3177"/>
                    </a:cubicBezTo>
                    <a:cubicBezTo>
                      <a:pt x="2503" y="3182"/>
                      <a:pt x="2509" y="3187"/>
                      <a:pt x="2515" y="3192"/>
                    </a:cubicBezTo>
                    <a:lnTo>
                      <a:pt x="2572" y="3117"/>
                    </a:lnTo>
                    <a:cubicBezTo>
                      <a:pt x="2566" y="3112"/>
                      <a:pt x="2560" y="3108"/>
                      <a:pt x="2554" y="3103"/>
                    </a:cubicBezTo>
                    <a:cubicBezTo>
                      <a:pt x="2499" y="3060"/>
                      <a:pt x="2431" y="3007"/>
                      <a:pt x="2344" y="3007"/>
                    </a:cubicBezTo>
                    <a:cubicBezTo>
                      <a:pt x="2276" y="3007"/>
                      <a:pt x="2230" y="3041"/>
                      <a:pt x="2189" y="3072"/>
                    </a:cubicBezTo>
                    <a:cubicBezTo>
                      <a:pt x="2155" y="3098"/>
                      <a:pt x="2128" y="3118"/>
                      <a:pt x="2090" y="3118"/>
                    </a:cubicBezTo>
                    <a:cubicBezTo>
                      <a:pt x="2053" y="3118"/>
                      <a:pt x="2026" y="3098"/>
                      <a:pt x="1992" y="3072"/>
                    </a:cubicBezTo>
                    <a:cubicBezTo>
                      <a:pt x="1951" y="3041"/>
                      <a:pt x="1905" y="3007"/>
                      <a:pt x="1836" y="3007"/>
                    </a:cubicBezTo>
                    <a:cubicBezTo>
                      <a:pt x="1768" y="3007"/>
                      <a:pt x="1722" y="3041"/>
                      <a:pt x="1681" y="3072"/>
                    </a:cubicBezTo>
                    <a:cubicBezTo>
                      <a:pt x="1647" y="3098"/>
                      <a:pt x="1620" y="3118"/>
                      <a:pt x="1582" y="3118"/>
                    </a:cubicBezTo>
                    <a:cubicBezTo>
                      <a:pt x="1545" y="3118"/>
                      <a:pt x="1518" y="3098"/>
                      <a:pt x="1484" y="3072"/>
                    </a:cubicBezTo>
                    <a:cubicBezTo>
                      <a:pt x="1443" y="3041"/>
                      <a:pt x="1397" y="3007"/>
                      <a:pt x="1328" y="3007"/>
                    </a:cubicBezTo>
                    <a:cubicBezTo>
                      <a:pt x="1242" y="3007"/>
                      <a:pt x="1174" y="3060"/>
                      <a:pt x="1119" y="3103"/>
                    </a:cubicBezTo>
                    <a:cubicBezTo>
                      <a:pt x="1113" y="3108"/>
                      <a:pt x="1107" y="3112"/>
                      <a:pt x="1101" y="3117"/>
                    </a:cubicBezTo>
                    <a:lnTo>
                      <a:pt x="1158" y="3192"/>
                    </a:lnTo>
                    <a:cubicBezTo>
                      <a:pt x="1164" y="3187"/>
                      <a:pt x="1170" y="3182"/>
                      <a:pt x="1177" y="3177"/>
                    </a:cubicBezTo>
                    <a:cubicBezTo>
                      <a:pt x="1225" y="3140"/>
                      <a:pt x="1275" y="3101"/>
                      <a:pt x="1328" y="3101"/>
                    </a:cubicBezTo>
                    <a:cubicBezTo>
                      <a:pt x="1366" y="3101"/>
                      <a:pt x="1393" y="3122"/>
                      <a:pt x="1427" y="3147"/>
                    </a:cubicBezTo>
                    <a:cubicBezTo>
                      <a:pt x="1468" y="3178"/>
                      <a:pt x="1514" y="3212"/>
                      <a:pt x="1582" y="3212"/>
                    </a:cubicBezTo>
                    <a:cubicBezTo>
                      <a:pt x="1651" y="3212"/>
                      <a:pt x="1697" y="3178"/>
                      <a:pt x="1738" y="3147"/>
                    </a:cubicBezTo>
                    <a:cubicBezTo>
                      <a:pt x="1772" y="3122"/>
                      <a:pt x="1799" y="3101"/>
                      <a:pt x="1836" y="3101"/>
                    </a:cubicBezTo>
                    <a:cubicBezTo>
                      <a:pt x="1874" y="3101"/>
                      <a:pt x="1901" y="3122"/>
                      <a:pt x="1935" y="3147"/>
                    </a:cubicBezTo>
                    <a:cubicBezTo>
                      <a:pt x="1976" y="3178"/>
                      <a:pt x="2022" y="3212"/>
                      <a:pt x="2090" y="3212"/>
                    </a:cubicBezTo>
                    <a:cubicBezTo>
                      <a:pt x="2159" y="3212"/>
                      <a:pt x="2205" y="3178"/>
                      <a:pt x="2246" y="3147"/>
                    </a:cubicBezTo>
                    <a:close/>
                    <a:moveTo>
                      <a:pt x="912" y="1501"/>
                    </a:moveTo>
                    <a:lnTo>
                      <a:pt x="912" y="2929"/>
                    </a:lnTo>
                    <a:lnTo>
                      <a:pt x="723" y="2929"/>
                    </a:lnTo>
                    <a:lnTo>
                      <a:pt x="723" y="1956"/>
                    </a:lnTo>
                    <a:lnTo>
                      <a:pt x="149" y="2591"/>
                    </a:lnTo>
                    <a:lnTo>
                      <a:pt x="48" y="2540"/>
                    </a:lnTo>
                    <a:lnTo>
                      <a:pt x="616" y="1428"/>
                    </a:lnTo>
                    <a:cubicBezTo>
                      <a:pt x="551" y="1344"/>
                      <a:pt x="543" y="1226"/>
                      <a:pt x="603" y="1133"/>
                    </a:cubicBezTo>
                    <a:lnTo>
                      <a:pt x="222" y="822"/>
                    </a:lnTo>
                    <a:lnTo>
                      <a:pt x="0" y="63"/>
                    </a:lnTo>
                    <a:lnTo>
                      <a:pt x="93" y="0"/>
                    </a:lnTo>
                    <a:lnTo>
                      <a:pt x="784" y="1018"/>
                    </a:lnTo>
                    <a:cubicBezTo>
                      <a:pt x="848" y="1010"/>
                      <a:pt x="915" y="1025"/>
                      <a:pt x="970" y="1067"/>
                    </a:cubicBezTo>
                    <a:cubicBezTo>
                      <a:pt x="1005" y="1093"/>
                      <a:pt x="1030" y="1127"/>
                      <a:pt x="1047" y="1164"/>
                    </a:cubicBezTo>
                    <a:lnTo>
                      <a:pt x="1532" y="993"/>
                    </a:lnTo>
                    <a:lnTo>
                      <a:pt x="2296" y="1197"/>
                    </a:lnTo>
                    <a:lnTo>
                      <a:pt x="2296" y="1310"/>
                    </a:lnTo>
                    <a:lnTo>
                      <a:pt x="1050" y="1373"/>
                    </a:lnTo>
                    <a:cubicBezTo>
                      <a:pt x="1042" y="1391"/>
                      <a:pt x="1033" y="1408"/>
                      <a:pt x="1021" y="1424"/>
                    </a:cubicBezTo>
                    <a:cubicBezTo>
                      <a:pt x="1005" y="1446"/>
                      <a:pt x="968" y="1485"/>
                      <a:pt x="912" y="150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9984210-1EF4-4218-8C97-CA9CA3E7314A}"/>
                </a:ext>
              </a:extLst>
            </p:cNvPr>
            <p:cNvSpPr txBox="1"/>
            <p:nvPr/>
          </p:nvSpPr>
          <p:spPr>
            <a:xfrm>
              <a:off x="630532" y="4114814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Offshore Wind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DAE3CA2-09CA-4AB8-A1F1-08F8EF01335A}"/>
              </a:ext>
            </a:extLst>
          </p:cNvPr>
          <p:cNvGrpSpPr/>
          <p:nvPr/>
        </p:nvGrpSpPr>
        <p:grpSpPr>
          <a:xfrm>
            <a:off x="630532" y="4091948"/>
            <a:ext cx="1847441" cy="894803"/>
            <a:chOff x="630532" y="4283494"/>
            <a:chExt cx="1847441" cy="894803"/>
          </a:xfrm>
        </p:grpSpPr>
        <p:grpSp>
          <p:nvGrpSpPr>
            <p:cNvPr id="13" name="Icon 36">
              <a:extLst>
                <a:ext uri="{FF2B5EF4-FFF2-40B4-BE49-F238E27FC236}">
                  <a16:creationId xmlns:a16="http://schemas.microsoft.com/office/drawing/2014/main" id="{A439032A-AFC4-49F9-9607-E0AAA9B1FF98}"/>
                </a:ext>
              </a:extLst>
            </p:cNvPr>
            <p:cNvGrpSpPr/>
            <p:nvPr/>
          </p:nvGrpSpPr>
          <p:grpSpPr>
            <a:xfrm>
              <a:off x="1158171" y="4283494"/>
              <a:ext cx="792163" cy="792162"/>
              <a:chOff x="6104241" y="5050606"/>
              <a:chExt cx="792163" cy="792162"/>
            </a:xfrm>
          </p:grpSpPr>
          <p:sp>
            <p:nvSpPr>
              <p:cNvPr id="14" name="AutoShape 71">
                <a:extLst>
                  <a:ext uri="{FF2B5EF4-FFF2-40B4-BE49-F238E27FC236}">
                    <a16:creationId xmlns:a16="http://schemas.microsoft.com/office/drawing/2014/main" id="{8AE0FB07-CEBA-43D8-95C5-024B4EE446A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104241" y="5050606"/>
                <a:ext cx="792163" cy="79216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accent2"/>
                  </a:solidFill>
                </a:endParaRPr>
              </a:p>
            </p:txBody>
          </p:sp>
          <p:sp>
            <p:nvSpPr>
              <p:cNvPr id="15" name="Freeform 73">
                <a:extLst>
                  <a:ext uri="{FF2B5EF4-FFF2-40B4-BE49-F238E27FC236}">
                    <a16:creationId xmlns:a16="http://schemas.microsoft.com/office/drawing/2014/main" id="{B90CFBB1-751C-41F3-B2CC-1425E40105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39179" y="5241106"/>
                <a:ext cx="514350" cy="414337"/>
              </a:xfrm>
              <a:custGeom>
                <a:avLst/>
                <a:gdLst>
                  <a:gd name="T0" fmla="*/ 3700 w 4012"/>
                  <a:gd name="T1" fmla="*/ 1825 h 3234"/>
                  <a:gd name="T2" fmla="*/ 3540 w 4012"/>
                  <a:gd name="T3" fmla="*/ 1825 h 3234"/>
                  <a:gd name="T4" fmla="*/ 3631 w 4012"/>
                  <a:gd name="T5" fmla="*/ 1752 h 3234"/>
                  <a:gd name="T6" fmla="*/ 3697 w 4012"/>
                  <a:gd name="T7" fmla="*/ 1627 h 3234"/>
                  <a:gd name="T8" fmla="*/ 3536 w 4012"/>
                  <a:gd name="T9" fmla="*/ 1506 h 3234"/>
                  <a:gd name="T10" fmla="*/ 3384 w 4012"/>
                  <a:gd name="T11" fmla="*/ 1537 h 3234"/>
                  <a:gd name="T12" fmla="*/ 3403 w 4012"/>
                  <a:gd name="T13" fmla="*/ 1624 h 3234"/>
                  <a:gd name="T14" fmla="*/ 3520 w 4012"/>
                  <a:gd name="T15" fmla="*/ 1593 h 3234"/>
                  <a:gd name="T16" fmla="*/ 3582 w 4012"/>
                  <a:gd name="T17" fmla="*/ 1637 h 3234"/>
                  <a:gd name="T18" fmla="*/ 3502 w 4012"/>
                  <a:gd name="T19" fmla="*/ 1743 h 3234"/>
                  <a:gd name="T20" fmla="*/ 3389 w 4012"/>
                  <a:gd name="T21" fmla="*/ 1825 h 3234"/>
                  <a:gd name="T22" fmla="*/ 3389 w 4012"/>
                  <a:gd name="T23" fmla="*/ 1912 h 3234"/>
                  <a:gd name="T24" fmla="*/ 3700 w 4012"/>
                  <a:gd name="T25" fmla="*/ 1912 h 3234"/>
                  <a:gd name="T26" fmla="*/ 3700 w 4012"/>
                  <a:gd name="T27" fmla="*/ 1825 h 3234"/>
                  <a:gd name="T28" fmla="*/ 3284 w 4012"/>
                  <a:gd name="T29" fmla="*/ 1060 h 3234"/>
                  <a:gd name="T30" fmla="*/ 3120 w 4012"/>
                  <a:gd name="T31" fmla="*/ 1060 h 3234"/>
                  <a:gd name="T32" fmla="*/ 3120 w 4012"/>
                  <a:gd name="T33" fmla="*/ 1352 h 3234"/>
                  <a:gd name="T34" fmla="*/ 2853 w 4012"/>
                  <a:gd name="T35" fmla="*/ 1352 h 3234"/>
                  <a:gd name="T36" fmla="*/ 2853 w 4012"/>
                  <a:gd name="T37" fmla="*/ 1060 h 3234"/>
                  <a:gd name="T38" fmla="*/ 2689 w 4012"/>
                  <a:gd name="T39" fmla="*/ 1060 h 3234"/>
                  <a:gd name="T40" fmla="*/ 2689 w 4012"/>
                  <a:gd name="T41" fmla="*/ 1787 h 3234"/>
                  <a:gd name="T42" fmla="*/ 2853 w 4012"/>
                  <a:gd name="T43" fmla="*/ 1787 h 3234"/>
                  <a:gd name="T44" fmla="*/ 2853 w 4012"/>
                  <a:gd name="T45" fmla="*/ 1480 h 3234"/>
                  <a:gd name="T46" fmla="*/ 3120 w 4012"/>
                  <a:gd name="T47" fmla="*/ 1480 h 3234"/>
                  <a:gd name="T48" fmla="*/ 3120 w 4012"/>
                  <a:gd name="T49" fmla="*/ 1787 h 3234"/>
                  <a:gd name="T50" fmla="*/ 3284 w 4012"/>
                  <a:gd name="T51" fmla="*/ 1787 h 3234"/>
                  <a:gd name="T52" fmla="*/ 3284 w 4012"/>
                  <a:gd name="T53" fmla="*/ 1060 h 3234"/>
                  <a:gd name="T54" fmla="*/ 4012 w 4012"/>
                  <a:gd name="T55" fmla="*/ 1439 h 3234"/>
                  <a:gd name="T56" fmla="*/ 3162 w 4012"/>
                  <a:gd name="T57" fmla="*/ 2290 h 3234"/>
                  <a:gd name="T58" fmla="*/ 2467 w 4012"/>
                  <a:gd name="T59" fmla="*/ 2290 h 3234"/>
                  <a:gd name="T60" fmla="*/ 1934 w 4012"/>
                  <a:gd name="T61" fmla="*/ 3043 h 3234"/>
                  <a:gd name="T62" fmla="*/ 1337 w 4012"/>
                  <a:gd name="T63" fmla="*/ 3231 h 3234"/>
                  <a:gd name="T64" fmla="*/ 1178 w 4012"/>
                  <a:gd name="T65" fmla="*/ 3229 h 3234"/>
                  <a:gd name="T66" fmla="*/ 324 w 4012"/>
                  <a:gd name="T67" fmla="*/ 2797 h 3234"/>
                  <a:gd name="T68" fmla="*/ 25 w 4012"/>
                  <a:gd name="T69" fmla="*/ 1889 h 3234"/>
                  <a:gd name="T70" fmla="*/ 280 w 4012"/>
                  <a:gd name="T71" fmla="*/ 1223 h 3234"/>
                  <a:gd name="T72" fmla="*/ 335 w 4012"/>
                  <a:gd name="T73" fmla="*/ 1275 h 3234"/>
                  <a:gd name="T74" fmla="*/ 403 w 4012"/>
                  <a:gd name="T75" fmla="*/ 1327 h 3234"/>
                  <a:gd name="T76" fmla="*/ 186 w 4012"/>
                  <a:gd name="T77" fmla="*/ 1901 h 3234"/>
                  <a:gd name="T78" fmla="*/ 446 w 4012"/>
                  <a:gd name="T79" fmla="*/ 2692 h 3234"/>
                  <a:gd name="T80" fmla="*/ 1190 w 4012"/>
                  <a:gd name="T81" fmla="*/ 3068 h 3234"/>
                  <a:gd name="T82" fmla="*/ 1849 w 4012"/>
                  <a:gd name="T83" fmla="*/ 2906 h 3234"/>
                  <a:gd name="T84" fmla="*/ 2311 w 4012"/>
                  <a:gd name="T85" fmla="*/ 2245 h 3234"/>
                  <a:gd name="T86" fmla="*/ 2311 w 4012"/>
                  <a:gd name="T87" fmla="*/ 1439 h 3234"/>
                  <a:gd name="T88" fmla="*/ 3162 w 4012"/>
                  <a:gd name="T89" fmla="*/ 589 h 3234"/>
                  <a:gd name="T90" fmla="*/ 4012 w 4012"/>
                  <a:gd name="T91" fmla="*/ 1439 h 3234"/>
                  <a:gd name="T92" fmla="*/ 2199 w 4012"/>
                  <a:gd name="T93" fmla="*/ 273 h 3234"/>
                  <a:gd name="T94" fmla="*/ 2171 w 4012"/>
                  <a:gd name="T95" fmla="*/ 352 h 3234"/>
                  <a:gd name="T96" fmla="*/ 1303 w 4012"/>
                  <a:gd name="T97" fmla="*/ 1546 h 3234"/>
                  <a:gd name="T98" fmla="*/ 1121 w 4012"/>
                  <a:gd name="T99" fmla="*/ 1578 h 3234"/>
                  <a:gd name="T100" fmla="*/ 403 w 4012"/>
                  <a:gd name="T101" fmla="*/ 1327 h 3234"/>
                  <a:gd name="T102" fmla="*/ 1114 w 4012"/>
                  <a:gd name="T103" fmla="*/ 907 h 3234"/>
                  <a:gd name="T104" fmla="*/ 1106 w 4012"/>
                  <a:gd name="T105" fmla="*/ 744 h 3234"/>
                  <a:gd name="T106" fmla="*/ 280 w 4012"/>
                  <a:gd name="T107" fmla="*/ 1223 h 3234"/>
                  <a:gd name="T108" fmla="*/ 230 w 4012"/>
                  <a:gd name="T109" fmla="*/ 917 h 3234"/>
                  <a:gd name="T110" fmla="*/ 1268 w 4012"/>
                  <a:gd name="T111" fmla="*/ 24 h 3234"/>
                  <a:gd name="T112" fmla="*/ 2118 w 4012"/>
                  <a:gd name="T113" fmla="*/ 247 h 3234"/>
                  <a:gd name="T114" fmla="*/ 2199 w 4012"/>
                  <a:gd name="T115" fmla="*/ 273 h 3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012" h="3234">
                    <a:moveTo>
                      <a:pt x="3700" y="1825"/>
                    </a:moveTo>
                    <a:lnTo>
                      <a:pt x="3540" y="1825"/>
                    </a:lnTo>
                    <a:cubicBezTo>
                      <a:pt x="3570" y="1804"/>
                      <a:pt x="3601" y="1778"/>
                      <a:pt x="3631" y="1752"/>
                    </a:cubicBezTo>
                    <a:cubicBezTo>
                      <a:pt x="3679" y="1708"/>
                      <a:pt x="3697" y="1674"/>
                      <a:pt x="3697" y="1627"/>
                    </a:cubicBezTo>
                    <a:cubicBezTo>
                      <a:pt x="3697" y="1549"/>
                      <a:pt x="3640" y="1506"/>
                      <a:pt x="3536" y="1506"/>
                    </a:cubicBezTo>
                    <a:cubicBezTo>
                      <a:pt x="3486" y="1506"/>
                      <a:pt x="3432" y="1516"/>
                      <a:pt x="3384" y="1537"/>
                    </a:cubicBezTo>
                    <a:lnTo>
                      <a:pt x="3403" y="1624"/>
                    </a:lnTo>
                    <a:cubicBezTo>
                      <a:pt x="3462" y="1600"/>
                      <a:pt x="3489" y="1593"/>
                      <a:pt x="3520" y="1593"/>
                    </a:cubicBezTo>
                    <a:cubicBezTo>
                      <a:pt x="3559" y="1593"/>
                      <a:pt x="3582" y="1609"/>
                      <a:pt x="3582" y="1637"/>
                    </a:cubicBezTo>
                    <a:cubicBezTo>
                      <a:pt x="3582" y="1668"/>
                      <a:pt x="3558" y="1699"/>
                      <a:pt x="3502" y="1743"/>
                    </a:cubicBezTo>
                    <a:cubicBezTo>
                      <a:pt x="3454" y="1782"/>
                      <a:pt x="3416" y="1809"/>
                      <a:pt x="3389" y="1825"/>
                    </a:cubicBezTo>
                    <a:lnTo>
                      <a:pt x="3389" y="1912"/>
                    </a:lnTo>
                    <a:lnTo>
                      <a:pt x="3700" y="1912"/>
                    </a:lnTo>
                    <a:lnTo>
                      <a:pt x="3700" y="1825"/>
                    </a:lnTo>
                    <a:close/>
                    <a:moveTo>
                      <a:pt x="3284" y="1060"/>
                    </a:moveTo>
                    <a:lnTo>
                      <a:pt x="3120" y="1060"/>
                    </a:lnTo>
                    <a:lnTo>
                      <a:pt x="3120" y="1352"/>
                    </a:lnTo>
                    <a:lnTo>
                      <a:pt x="2853" y="1352"/>
                    </a:lnTo>
                    <a:lnTo>
                      <a:pt x="2853" y="1060"/>
                    </a:lnTo>
                    <a:lnTo>
                      <a:pt x="2689" y="1060"/>
                    </a:lnTo>
                    <a:lnTo>
                      <a:pt x="2689" y="1787"/>
                    </a:lnTo>
                    <a:lnTo>
                      <a:pt x="2853" y="1787"/>
                    </a:lnTo>
                    <a:lnTo>
                      <a:pt x="2853" y="1480"/>
                    </a:lnTo>
                    <a:lnTo>
                      <a:pt x="3120" y="1480"/>
                    </a:lnTo>
                    <a:lnTo>
                      <a:pt x="3120" y="1787"/>
                    </a:lnTo>
                    <a:lnTo>
                      <a:pt x="3284" y="1787"/>
                    </a:lnTo>
                    <a:lnTo>
                      <a:pt x="3284" y="1060"/>
                    </a:lnTo>
                    <a:close/>
                    <a:moveTo>
                      <a:pt x="4012" y="1439"/>
                    </a:moveTo>
                    <a:cubicBezTo>
                      <a:pt x="4012" y="1909"/>
                      <a:pt x="3631" y="2290"/>
                      <a:pt x="3162" y="2290"/>
                    </a:cubicBezTo>
                    <a:lnTo>
                      <a:pt x="2467" y="2290"/>
                    </a:lnTo>
                    <a:cubicBezTo>
                      <a:pt x="2401" y="2614"/>
                      <a:pt x="2224" y="2862"/>
                      <a:pt x="1934" y="3043"/>
                    </a:cubicBezTo>
                    <a:cubicBezTo>
                      <a:pt x="1753" y="3157"/>
                      <a:pt x="1549" y="3220"/>
                      <a:pt x="1337" y="3231"/>
                    </a:cubicBezTo>
                    <a:cubicBezTo>
                      <a:pt x="1284" y="3234"/>
                      <a:pt x="1231" y="3233"/>
                      <a:pt x="1178" y="3229"/>
                    </a:cubicBezTo>
                    <a:cubicBezTo>
                      <a:pt x="845" y="3204"/>
                      <a:pt x="541" y="3050"/>
                      <a:pt x="324" y="2797"/>
                    </a:cubicBezTo>
                    <a:cubicBezTo>
                      <a:pt x="106" y="2544"/>
                      <a:pt x="0" y="2221"/>
                      <a:pt x="25" y="1889"/>
                    </a:cubicBezTo>
                    <a:cubicBezTo>
                      <a:pt x="44" y="1646"/>
                      <a:pt x="133" y="1415"/>
                      <a:pt x="280" y="1223"/>
                    </a:cubicBezTo>
                    <a:cubicBezTo>
                      <a:pt x="280" y="1223"/>
                      <a:pt x="299" y="1245"/>
                      <a:pt x="335" y="1275"/>
                    </a:cubicBezTo>
                    <a:cubicBezTo>
                      <a:pt x="373" y="1308"/>
                      <a:pt x="403" y="1327"/>
                      <a:pt x="403" y="1327"/>
                    </a:cubicBezTo>
                    <a:cubicBezTo>
                      <a:pt x="275" y="1494"/>
                      <a:pt x="202" y="1690"/>
                      <a:pt x="186" y="1901"/>
                    </a:cubicBezTo>
                    <a:cubicBezTo>
                      <a:pt x="164" y="2191"/>
                      <a:pt x="257" y="2472"/>
                      <a:pt x="446" y="2692"/>
                    </a:cubicBezTo>
                    <a:cubicBezTo>
                      <a:pt x="636" y="2912"/>
                      <a:pt x="900" y="3046"/>
                      <a:pt x="1190" y="3068"/>
                    </a:cubicBezTo>
                    <a:cubicBezTo>
                      <a:pt x="1423" y="3085"/>
                      <a:pt x="1651" y="3029"/>
                      <a:pt x="1849" y="2906"/>
                    </a:cubicBezTo>
                    <a:cubicBezTo>
                      <a:pt x="2104" y="2746"/>
                      <a:pt x="2255" y="2533"/>
                      <a:pt x="2311" y="2245"/>
                    </a:cubicBezTo>
                    <a:lnTo>
                      <a:pt x="2311" y="1439"/>
                    </a:lnTo>
                    <a:cubicBezTo>
                      <a:pt x="2311" y="970"/>
                      <a:pt x="2692" y="589"/>
                      <a:pt x="3162" y="589"/>
                    </a:cubicBezTo>
                    <a:cubicBezTo>
                      <a:pt x="3631" y="589"/>
                      <a:pt x="4012" y="970"/>
                      <a:pt x="4012" y="1439"/>
                    </a:cubicBezTo>
                    <a:close/>
                    <a:moveTo>
                      <a:pt x="2199" y="273"/>
                    </a:moveTo>
                    <a:lnTo>
                      <a:pt x="2171" y="352"/>
                    </a:lnTo>
                    <a:cubicBezTo>
                      <a:pt x="1920" y="1067"/>
                      <a:pt x="1652" y="1435"/>
                      <a:pt x="1303" y="1546"/>
                    </a:cubicBezTo>
                    <a:cubicBezTo>
                      <a:pt x="1244" y="1564"/>
                      <a:pt x="1183" y="1575"/>
                      <a:pt x="1121" y="1578"/>
                    </a:cubicBezTo>
                    <a:cubicBezTo>
                      <a:pt x="905" y="1589"/>
                      <a:pt x="668" y="1506"/>
                      <a:pt x="403" y="1327"/>
                    </a:cubicBezTo>
                    <a:cubicBezTo>
                      <a:pt x="577" y="1100"/>
                      <a:pt x="835" y="948"/>
                      <a:pt x="1114" y="907"/>
                    </a:cubicBezTo>
                    <a:lnTo>
                      <a:pt x="1106" y="744"/>
                    </a:lnTo>
                    <a:cubicBezTo>
                      <a:pt x="780" y="788"/>
                      <a:pt x="482" y="960"/>
                      <a:pt x="280" y="1223"/>
                    </a:cubicBezTo>
                    <a:cubicBezTo>
                      <a:pt x="241" y="1166"/>
                      <a:pt x="208" y="1071"/>
                      <a:pt x="230" y="917"/>
                    </a:cubicBezTo>
                    <a:cubicBezTo>
                      <a:pt x="361" y="160"/>
                      <a:pt x="944" y="0"/>
                      <a:pt x="1268" y="24"/>
                    </a:cubicBezTo>
                    <a:cubicBezTo>
                      <a:pt x="1470" y="40"/>
                      <a:pt x="2011" y="212"/>
                      <a:pt x="2118" y="247"/>
                    </a:cubicBezTo>
                    <a:lnTo>
                      <a:pt x="2199" y="27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6E9BBE8-EB4D-482F-A376-604D886F8EC6}"/>
                </a:ext>
              </a:extLst>
            </p:cNvPr>
            <p:cNvSpPr txBox="1"/>
            <p:nvPr/>
          </p:nvSpPr>
          <p:spPr>
            <a:xfrm>
              <a:off x="630532" y="4899854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Hydrogen Production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25F959A-6699-4D4A-A6ED-B40E2C0A81AE}"/>
              </a:ext>
            </a:extLst>
          </p:cNvPr>
          <p:cNvGrpSpPr/>
          <p:nvPr/>
        </p:nvGrpSpPr>
        <p:grpSpPr>
          <a:xfrm>
            <a:off x="630532" y="5006146"/>
            <a:ext cx="1847441" cy="892804"/>
            <a:chOff x="630532" y="5185930"/>
            <a:chExt cx="1847441" cy="892804"/>
          </a:xfrm>
        </p:grpSpPr>
        <p:grpSp>
          <p:nvGrpSpPr>
            <p:cNvPr id="19" name="Icon 8">
              <a:extLst>
                <a:ext uri="{FF2B5EF4-FFF2-40B4-BE49-F238E27FC236}">
                  <a16:creationId xmlns:a16="http://schemas.microsoft.com/office/drawing/2014/main" id="{C1B1B127-FD84-4D4A-856E-EFDE02DA019A}"/>
                </a:ext>
              </a:extLst>
            </p:cNvPr>
            <p:cNvGrpSpPr/>
            <p:nvPr/>
          </p:nvGrpSpPr>
          <p:grpSpPr>
            <a:xfrm>
              <a:off x="1158377" y="5185930"/>
              <a:ext cx="791750" cy="790163"/>
              <a:chOff x="8311671" y="1954981"/>
              <a:chExt cx="791750" cy="790163"/>
            </a:xfrm>
          </p:grpSpPr>
          <p:sp>
            <p:nvSpPr>
              <p:cNvPr id="20" name="Rectangle 96">
                <a:extLst>
                  <a:ext uri="{FF2B5EF4-FFF2-40B4-BE49-F238E27FC236}">
                    <a16:creationId xmlns:a16="http://schemas.microsoft.com/office/drawing/2014/main" id="{0FA30231-003B-4870-9962-78474EC9FB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11671" y="1954981"/>
                <a:ext cx="791750" cy="7901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solidFill>
                    <a:schemeClr val="accent2"/>
                  </a:solidFill>
                </a:endParaRPr>
              </a:p>
            </p:txBody>
          </p:sp>
          <p:sp>
            <p:nvSpPr>
              <p:cNvPr id="21" name="Freeform 97">
                <a:extLst>
                  <a:ext uri="{FF2B5EF4-FFF2-40B4-BE49-F238E27FC236}">
                    <a16:creationId xmlns:a16="http://schemas.microsoft.com/office/drawing/2014/main" id="{3A166004-1E65-42C7-857B-EF417BE2B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19525" y="2137448"/>
                <a:ext cx="364935" cy="412535"/>
              </a:xfrm>
              <a:custGeom>
                <a:avLst/>
                <a:gdLst>
                  <a:gd name="T0" fmla="*/ 2080 w 2268"/>
                  <a:gd name="T1" fmla="*/ 841 h 2570"/>
                  <a:gd name="T2" fmla="*/ 2155 w 2268"/>
                  <a:gd name="T3" fmla="*/ 642 h 2570"/>
                  <a:gd name="T4" fmla="*/ 1852 w 2268"/>
                  <a:gd name="T5" fmla="*/ 340 h 2570"/>
                  <a:gd name="T6" fmla="*/ 1811 w 2268"/>
                  <a:gd name="T7" fmla="*/ 343 h 2570"/>
                  <a:gd name="T8" fmla="*/ 1588 w 2268"/>
                  <a:gd name="T9" fmla="*/ 151 h 2570"/>
                  <a:gd name="T10" fmla="*/ 1425 w 2268"/>
                  <a:gd name="T11" fmla="*/ 219 h 2570"/>
                  <a:gd name="T12" fmla="*/ 1059 w 2268"/>
                  <a:gd name="T13" fmla="*/ 0 h 2570"/>
                  <a:gd name="T14" fmla="*/ 684 w 2268"/>
                  <a:gd name="T15" fmla="*/ 236 h 2570"/>
                  <a:gd name="T16" fmla="*/ 605 w 2268"/>
                  <a:gd name="T17" fmla="*/ 226 h 2570"/>
                  <a:gd name="T18" fmla="*/ 265 w 2268"/>
                  <a:gd name="T19" fmla="*/ 567 h 2570"/>
                  <a:gd name="T20" fmla="*/ 267 w 2268"/>
                  <a:gd name="T21" fmla="*/ 607 h 2570"/>
                  <a:gd name="T22" fmla="*/ 76 w 2268"/>
                  <a:gd name="T23" fmla="*/ 831 h 2570"/>
                  <a:gd name="T24" fmla="*/ 114 w 2268"/>
                  <a:gd name="T25" fmla="*/ 957 h 2570"/>
                  <a:gd name="T26" fmla="*/ 0 w 2268"/>
                  <a:gd name="T27" fmla="*/ 1285 h 2570"/>
                  <a:gd name="T28" fmla="*/ 529 w 2268"/>
                  <a:gd name="T29" fmla="*/ 1814 h 2570"/>
                  <a:gd name="T30" fmla="*/ 743 w 2268"/>
                  <a:gd name="T31" fmla="*/ 1769 h 2570"/>
                  <a:gd name="T32" fmla="*/ 1026 w 2268"/>
                  <a:gd name="T33" fmla="*/ 1959 h 2570"/>
                  <a:gd name="T34" fmla="*/ 983 w 2268"/>
                  <a:gd name="T35" fmla="*/ 2570 h 2570"/>
                  <a:gd name="T36" fmla="*/ 1361 w 2268"/>
                  <a:gd name="T37" fmla="*/ 2570 h 2570"/>
                  <a:gd name="T38" fmla="*/ 1314 w 2268"/>
                  <a:gd name="T39" fmla="*/ 1903 h 2570"/>
                  <a:gd name="T40" fmla="*/ 1512 w 2268"/>
                  <a:gd name="T41" fmla="*/ 1549 h 2570"/>
                  <a:gd name="T42" fmla="*/ 1512 w 2268"/>
                  <a:gd name="T43" fmla="*/ 1547 h 2570"/>
                  <a:gd name="T44" fmla="*/ 1814 w 2268"/>
                  <a:gd name="T45" fmla="*/ 1663 h 2570"/>
                  <a:gd name="T46" fmla="*/ 2268 w 2268"/>
                  <a:gd name="T47" fmla="*/ 1209 h 2570"/>
                  <a:gd name="T48" fmla="*/ 2080 w 2268"/>
                  <a:gd name="T49" fmla="*/ 841 h 2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268" h="2570">
                    <a:moveTo>
                      <a:pt x="2080" y="841"/>
                    </a:moveTo>
                    <a:cubicBezTo>
                      <a:pt x="2126" y="788"/>
                      <a:pt x="2155" y="718"/>
                      <a:pt x="2155" y="642"/>
                    </a:cubicBezTo>
                    <a:cubicBezTo>
                      <a:pt x="2155" y="475"/>
                      <a:pt x="2019" y="340"/>
                      <a:pt x="1852" y="340"/>
                    </a:cubicBezTo>
                    <a:cubicBezTo>
                      <a:pt x="1838" y="340"/>
                      <a:pt x="1825" y="341"/>
                      <a:pt x="1811" y="343"/>
                    </a:cubicBezTo>
                    <a:cubicBezTo>
                      <a:pt x="1795" y="234"/>
                      <a:pt x="1701" y="151"/>
                      <a:pt x="1588" y="151"/>
                    </a:cubicBezTo>
                    <a:cubicBezTo>
                      <a:pt x="1524" y="151"/>
                      <a:pt x="1466" y="177"/>
                      <a:pt x="1425" y="219"/>
                    </a:cubicBezTo>
                    <a:cubicBezTo>
                      <a:pt x="1355" y="89"/>
                      <a:pt x="1217" y="0"/>
                      <a:pt x="1059" y="0"/>
                    </a:cubicBezTo>
                    <a:cubicBezTo>
                      <a:pt x="893" y="0"/>
                      <a:pt x="751" y="96"/>
                      <a:pt x="684" y="236"/>
                    </a:cubicBezTo>
                    <a:cubicBezTo>
                      <a:pt x="658" y="230"/>
                      <a:pt x="632" y="226"/>
                      <a:pt x="605" y="226"/>
                    </a:cubicBezTo>
                    <a:cubicBezTo>
                      <a:pt x="417" y="226"/>
                      <a:pt x="265" y="379"/>
                      <a:pt x="265" y="567"/>
                    </a:cubicBezTo>
                    <a:cubicBezTo>
                      <a:pt x="265" y="580"/>
                      <a:pt x="266" y="594"/>
                      <a:pt x="267" y="607"/>
                    </a:cubicBezTo>
                    <a:cubicBezTo>
                      <a:pt x="159" y="624"/>
                      <a:pt x="76" y="718"/>
                      <a:pt x="76" y="831"/>
                    </a:cubicBezTo>
                    <a:cubicBezTo>
                      <a:pt x="76" y="878"/>
                      <a:pt x="90" y="921"/>
                      <a:pt x="114" y="957"/>
                    </a:cubicBezTo>
                    <a:cubicBezTo>
                      <a:pt x="43" y="1047"/>
                      <a:pt x="0" y="1161"/>
                      <a:pt x="0" y="1285"/>
                    </a:cubicBezTo>
                    <a:cubicBezTo>
                      <a:pt x="0" y="1577"/>
                      <a:pt x="237" y="1814"/>
                      <a:pt x="529" y="1814"/>
                    </a:cubicBezTo>
                    <a:cubicBezTo>
                      <a:pt x="605" y="1814"/>
                      <a:pt x="678" y="1798"/>
                      <a:pt x="743" y="1769"/>
                    </a:cubicBezTo>
                    <a:cubicBezTo>
                      <a:pt x="805" y="1868"/>
                      <a:pt x="907" y="1939"/>
                      <a:pt x="1026" y="1959"/>
                    </a:cubicBezTo>
                    <a:cubicBezTo>
                      <a:pt x="983" y="2570"/>
                      <a:pt x="983" y="2570"/>
                      <a:pt x="983" y="2570"/>
                    </a:cubicBezTo>
                    <a:cubicBezTo>
                      <a:pt x="1361" y="2570"/>
                      <a:pt x="1361" y="2570"/>
                      <a:pt x="1361" y="2570"/>
                    </a:cubicBezTo>
                    <a:cubicBezTo>
                      <a:pt x="1314" y="1903"/>
                      <a:pt x="1314" y="1903"/>
                      <a:pt x="1314" y="1903"/>
                    </a:cubicBezTo>
                    <a:cubicBezTo>
                      <a:pt x="1433" y="1830"/>
                      <a:pt x="1512" y="1699"/>
                      <a:pt x="1512" y="1549"/>
                    </a:cubicBezTo>
                    <a:cubicBezTo>
                      <a:pt x="1512" y="1548"/>
                      <a:pt x="1512" y="1548"/>
                      <a:pt x="1512" y="1547"/>
                    </a:cubicBezTo>
                    <a:cubicBezTo>
                      <a:pt x="1592" y="1619"/>
                      <a:pt x="1698" y="1663"/>
                      <a:pt x="1814" y="1663"/>
                    </a:cubicBezTo>
                    <a:cubicBezTo>
                      <a:pt x="2065" y="1663"/>
                      <a:pt x="2268" y="1460"/>
                      <a:pt x="2268" y="1209"/>
                    </a:cubicBezTo>
                    <a:cubicBezTo>
                      <a:pt x="2268" y="1058"/>
                      <a:pt x="2194" y="924"/>
                      <a:pt x="2080" y="84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7341A35-37E6-410D-8B1E-8C32E0D01FCF}"/>
                </a:ext>
              </a:extLst>
            </p:cNvPr>
            <p:cNvSpPr txBox="1"/>
            <p:nvPr/>
          </p:nvSpPr>
          <p:spPr>
            <a:xfrm>
              <a:off x="630532" y="5800291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Afforestation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2AFB8C8-8AA7-43F2-8569-36278802350D}"/>
              </a:ext>
            </a:extLst>
          </p:cNvPr>
          <p:cNvGrpSpPr/>
          <p:nvPr/>
        </p:nvGrpSpPr>
        <p:grpSpPr>
          <a:xfrm>
            <a:off x="615450" y="2265553"/>
            <a:ext cx="1847441" cy="892804"/>
            <a:chOff x="782932" y="2710939"/>
            <a:chExt cx="1847441" cy="892804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A556764-2F84-495F-BD79-6AAA4C639CD3}"/>
                </a:ext>
              </a:extLst>
            </p:cNvPr>
            <p:cNvGrpSpPr/>
            <p:nvPr/>
          </p:nvGrpSpPr>
          <p:grpSpPr>
            <a:xfrm>
              <a:off x="1310777" y="2710939"/>
              <a:ext cx="791751" cy="790163"/>
              <a:chOff x="1485189" y="2553183"/>
              <a:chExt cx="791751" cy="790163"/>
            </a:xfrm>
          </p:grpSpPr>
          <p:sp>
            <p:nvSpPr>
              <p:cNvPr id="32" name="Rectangle 116">
                <a:extLst>
                  <a:ext uri="{FF2B5EF4-FFF2-40B4-BE49-F238E27FC236}">
                    <a16:creationId xmlns:a16="http://schemas.microsoft.com/office/drawing/2014/main" id="{5263995C-A960-4137-AF3F-819AF990FD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5189" y="2553183"/>
                <a:ext cx="791751" cy="7901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>
                  <a:solidFill>
                    <a:schemeClr val="accent2"/>
                  </a:solidFill>
                </a:endParaRPr>
              </a:p>
            </p:txBody>
          </p:sp>
          <p:pic>
            <p:nvPicPr>
              <p:cNvPr id="42" name="Picture 41">
                <a:extLst>
                  <a:ext uri="{FF2B5EF4-FFF2-40B4-BE49-F238E27FC236}">
                    <a16:creationId xmlns:a16="http://schemas.microsoft.com/office/drawing/2014/main" id="{963FC478-0793-4BCA-A43C-A5A5C511A9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614327" y="2681527"/>
                <a:ext cx="533474" cy="533474"/>
              </a:xfrm>
              <a:prstGeom prst="rect">
                <a:avLst/>
              </a:prstGeom>
            </p:spPr>
          </p:pic>
        </p:grp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65707C-139F-41F1-A1A2-823F8F365291}"/>
                </a:ext>
              </a:extLst>
            </p:cNvPr>
            <p:cNvSpPr txBox="1"/>
            <p:nvPr/>
          </p:nvSpPr>
          <p:spPr>
            <a:xfrm>
              <a:off x="782932" y="3325300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CCS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8540B0B8-7F1E-4855-96A0-715B4E300C05}"/>
              </a:ext>
            </a:extLst>
          </p:cNvPr>
          <p:cNvSpPr txBox="1"/>
          <p:nvPr/>
        </p:nvSpPr>
        <p:spPr>
          <a:xfrm>
            <a:off x="2547697" y="1477337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tabLst>
                <a:tab pos="990600" algn="ctr"/>
              </a:tabLst>
            </a:pPr>
            <a:r>
              <a:rPr lang="en-GB" dirty="0">
                <a:solidFill>
                  <a:schemeClr val="accent2"/>
                </a:solidFill>
              </a:rPr>
              <a:t>	Grows 2-4 tim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65D4896-469C-40CE-B220-2D9D9C87A306}"/>
              </a:ext>
            </a:extLst>
          </p:cNvPr>
          <p:cNvSpPr txBox="1"/>
          <p:nvPr/>
        </p:nvSpPr>
        <p:spPr>
          <a:xfrm>
            <a:off x="2547697" y="3285755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buClr>
                <a:schemeClr val="accent2"/>
              </a:buClr>
              <a:tabLst>
                <a:tab pos="444500" algn="ctr"/>
                <a:tab pos="901700" algn="l"/>
                <a:tab pos="1701800" algn="ctr"/>
              </a:tabLst>
            </a:pPr>
            <a:r>
              <a:rPr lang="en-GB" dirty="0">
                <a:solidFill>
                  <a:schemeClr val="accent2"/>
                </a:solidFill>
              </a:rPr>
              <a:t>	12	</a:t>
            </a:r>
            <a:r>
              <a:rPr lang="en-GB" dirty="0">
                <a:solidFill>
                  <a:schemeClr val="accent2"/>
                </a:solidFill>
                <a:sym typeface="Wingdings" panose="05000000000000000000" pitchFamily="2" charset="2"/>
              </a:rPr>
              <a:t> 	</a:t>
            </a:r>
            <a:r>
              <a:rPr lang="en-GB" dirty="0">
                <a:solidFill>
                  <a:schemeClr val="accent2"/>
                </a:solidFill>
              </a:rPr>
              <a:t>75-100 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>	 GW 		GW</a:t>
            </a:r>
            <a:endParaRPr lang="en-GB" baseline="-25000" dirty="0">
              <a:solidFill>
                <a:schemeClr val="accent2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18A9D41-5C50-461D-B183-45121FFA0BCF}"/>
              </a:ext>
            </a:extLst>
          </p:cNvPr>
          <p:cNvSpPr txBox="1"/>
          <p:nvPr/>
        </p:nvSpPr>
        <p:spPr>
          <a:xfrm>
            <a:off x="2547697" y="4189964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buClr>
                <a:schemeClr val="accent2"/>
              </a:buClr>
              <a:tabLst>
                <a:tab pos="444500" algn="ctr"/>
                <a:tab pos="901700" algn="l"/>
                <a:tab pos="1701800" algn="ctr"/>
              </a:tabLst>
            </a:pPr>
            <a:r>
              <a:rPr lang="en-GB" dirty="0">
                <a:solidFill>
                  <a:schemeClr val="accent2"/>
                </a:solidFill>
              </a:rPr>
              <a:t>	27TWh	</a:t>
            </a:r>
            <a:r>
              <a:rPr lang="en-GB" dirty="0">
                <a:solidFill>
                  <a:schemeClr val="accent2"/>
                </a:solidFill>
                <a:sym typeface="Wingdings" panose="05000000000000000000" pitchFamily="2" charset="2"/>
              </a:rPr>
              <a:t> 	</a:t>
            </a:r>
            <a:r>
              <a:rPr lang="en-GB" dirty="0">
                <a:solidFill>
                  <a:schemeClr val="accent2"/>
                </a:solidFill>
              </a:rPr>
              <a:t>370TWh 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>	(</a:t>
            </a:r>
            <a:r>
              <a:rPr lang="en-GB" dirty="0">
                <a:solidFill>
                  <a:schemeClr val="accent6"/>
                </a:solidFill>
              </a:rPr>
              <a:t>grey</a:t>
            </a:r>
            <a:r>
              <a:rPr lang="en-GB" dirty="0">
                <a:solidFill>
                  <a:schemeClr val="accent2"/>
                </a:solidFill>
              </a:rPr>
              <a:t>) 		(</a:t>
            </a:r>
            <a:r>
              <a:rPr lang="en-GB" dirty="0">
                <a:solidFill>
                  <a:srgbClr val="14DA79"/>
                </a:solidFill>
              </a:rPr>
              <a:t>green</a:t>
            </a:r>
            <a:r>
              <a:rPr lang="en-GB" dirty="0">
                <a:solidFill>
                  <a:schemeClr val="accent2"/>
                </a:solidFill>
              </a:rPr>
              <a:t> &amp; </a:t>
            </a:r>
            <a:r>
              <a:rPr lang="en-GB" dirty="0">
                <a:solidFill>
                  <a:schemeClr val="accent4"/>
                </a:solidFill>
              </a:rPr>
              <a:t>blue</a:t>
            </a:r>
            <a:r>
              <a:rPr lang="en-GB" dirty="0">
                <a:solidFill>
                  <a:schemeClr val="accent2"/>
                </a:solidFill>
              </a:rPr>
              <a:t>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10A6BE9-2927-49E4-BC31-A7A0EA745BDF}"/>
              </a:ext>
            </a:extLst>
          </p:cNvPr>
          <p:cNvSpPr txBox="1"/>
          <p:nvPr/>
        </p:nvSpPr>
        <p:spPr>
          <a:xfrm>
            <a:off x="2547697" y="5094172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buClr>
                <a:schemeClr val="accent2"/>
              </a:buClr>
              <a:tabLst>
                <a:tab pos="444500" algn="ctr"/>
                <a:tab pos="901700" algn="l"/>
                <a:tab pos="1701800" algn="ctr"/>
              </a:tabLst>
            </a:pPr>
            <a:r>
              <a:rPr lang="en-GB" dirty="0">
                <a:solidFill>
                  <a:schemeClr val="accent2"/>
                </a:solidFill>
              </a:rPr>
              <a:t>	10,000	</a:t>
            </a:r>
            <a:r>
              <a:rPr lang="en-GB" dirty="0">
                <a:solidFill>
                  <a:schemeClr val="accent2"/>
                </a:solidFill>
                <a:sym typeface="Wingdings" panose="05000000000000000000" pitchFamily="2" charset="2"/>
              </a:rPr>
              <a:t> 	</a:t>
            </a:r>
            <a:r>
              <a:rPr lang="en-GB" dirty="0">
                <a:solidFill>
                  <a:schemeClr val="accent2"/>
                </a:solidFill>
              </a:rPr>
              <a:t>50,000	ha		ha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2BAC4F2-17E1-4A6B-8E8D-055D4FC8A441}"/>
              </a:ext>
            </a:extLst>
          </p:cNvPr>
          <p:cNvSpPr txBox="1"/>
          <p:nvPr/>
        </p:nvSpPr>
        <p:spPr>
          <a:xfrm>
            <a:off x="8412737" y="1477337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All carbon neutral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E3415C5-756D-4E50-8054-F67CC6953F83}"/>
              </a:ext>
            </a:extLst>
          </p:cNvPr>
          <p:cNvSpPr txBox="1"/>
          <p:nvPr/>
        </p:nvSpPr>
        <p:spPr>
          <a:xfrm>
            <a:off x="8412738" y="2381546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Installed in 29 million existing home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F096329-BD4F-4239-8CF3-3F2E82D4B299}"/>
              </a:ext>
            </a:extLst>
          </p:cNvPr>
          <p:cNvSpPr txBox="1"/>
          <p:nvPr/>
        </p:nvSpPr>
        <p:spPr>
          <a:xfrm>
            <a:off x="8412738" y="3285755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dirty="0">
                <a:solidFill>
                  <a:schemeClr val="accent2"/>
                </a:solidFill>
              </a:rPr>
              <a:t>250,000  </a:t>
            </a:r>
            <a:r>
              <a:rPr lang="en-GB" dirty="0">
                <a:solidFill>
                  <a:schemeClr val="accent2"/>
                </a:solidFill>
                <a:sym typeface="Wingdings" panose="05000000000000000000" pitchFamily="2" charset="2"/>
              </a:rPr>
              <a:t> </a:t>
            </a:r>
            <a:r>
              <a:rPr lang="en-GB" dirty="0">
                <a:solidFill>
                  <a:schemeClr val="accent2"/>
                </a:solidFill>
              </a:rPr>
              <a:t> 35 millio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E8E484D-8135-4B5E-AAE2-F3046F267310}"/>
              </a:ext>
            </a:extLst>
          </p:cNvPr>
          <p:cNvSpPr txBox="1"/>
          <p:nvPr/>
        </p:nvSpPr>
        <p:spPr>
          <a:xfrm>
            <a:off x="8412738" y="4189964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buClr>
                <a:schemeClr val="accent2"/>
              </a:buClr>
            </a:pPr>
            <a:r>
              <a:rPr lang="en-GB" dirty="0">
                <a:solidFill>
                  <a:schemeClr val="accent2"/>
                </a:solidFill>
              </a:rPr>
              <a:t>Beef, lamb and dairy consumption halved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84E87F2-467D-41CB-ABFD-65830AC0A159}"/>
              </a:ext>
            </a:extLst>
          </p:cNvPr>
          <p:cNvGrpSpPr/>
          <p:nvPr/>
        </p:nvGrpSpPr>
        <p:grpSpPr>
          <a:xfrm>
            <a:off x="6396460" y="4105111"/>
            <a:ext cx="1847441" cy="892804"/>
            <a:chOff x="12809177" y="5406354"/>
            <a:chExt cx="1847441" cy="892804"/>
          </a:xfrm>
        </p:grpSpPr>
        <p:grpSp>
          <p:nvGrpSpPr>
            <p:cNvPr id="28" name="Icon 32">
              <a:extLst>
                <a:ext uri="{FF2B5EF4-FFF2-40B4-BE49-F238E27FC236}">
                  <a16:creationId xmlns:a16="http://schemas.microsoft.com/office/drawing/2014/main" id="{7308B741-F87A-42A0-84FD-68F48DB11577}"/>
                </a:ext>
              </a:extLst>
            </p:cNvPr>
            <p:cNvGrpSpPr/>
            <p:nvPr/>
          </p:nvGrpSpPr>
          <p:grpSpPr>
            <a:xfrm>
              <a:off x="13337022" y="5406354"/>
              <a:ext cx="791751" cy="790163"/>
              <a:chOff x="3893173" y="2989493"/>
              <a:chExt cx="791751" cy="790163"/>
            </a:xfrm>
          </p:grpSpPr>
          <p:sp>
            <p:nvSpPr>
              <p:cNvPr id="29" name="Rectangle 159">
                <a:extLst>
                  <a:ext uri="{FF2B5EF4-FFF2-40B4-BE49-F238E27FC236}">
                    <a16:creationId xmlns:a16="http://schemas.microsoft.com/office/drawing/2014/main" id="{18157120-082F-4A9D-9C16-AFADA9897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93173" y="2989493"/>
                <a:ext cx="791751" cy="7901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/>
              </a:p>
            </p:txBody>
          </p:sp>
          <p:sp>
            <p:nvSpPr>
              <p:cNvPr id="30" name="Freeform 160">
                <a:extLst>
                  <a:ext uri="{FF2B5EF4-FFF2-40B4-BE49-F238E27FC236}">
                    <a16:creationId xmlns:a16="http://schemas.microsoft.com/office/drawing/2014/main" id="{D4C4FC32-DD11-4C02-A98A-1E1363C585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5347" y="3184654"/>
                <a:ext cx="536296" cy="412535"/>
              </a:xfrm>
              <a:custGeom>
                <a:avLst/>
                <a:gdLst>
                  <a:gd name="T0" fmla="*/ 3325 w 3333"/>
                  <a:gd name="T1" fmla="*/ 1208 h 2570"/>
                  <a:gd name="T2" fmla="*/ 3253 w 3333"/>
                  <a:gd name="T3" fmla="*/ 967 h 2570"/>
                  <a:gd name="T4" fmla="*/ 3167 w 3333"/>
                  <a:gd name="T5" fmla="*/ 786 h 2570"/>
                  <a:gd name="T6" fmla="*/ 3078 w 3333"/>
                  <a:gd name="T7" fmla="*/ 151 h 2570"/>
                  <a:gd name="T8" fmla="*/ 3099 w 3333"/>
                  <a:gd name="T9" fmla="*/ 151 h 2570"/>
                  <a:gd name="T10" fmla="*/ 3174 w 3333"/>
                  <a:gd name="T11" fmla="*/ 75 h 2570"/>
                  <a:gd name="T12" fmla="*/ 3099 w 3333"/>
                  <a:gd name="T13" fmla="*/ 0 h 2570"/>
                  <a:gd name="T14" fmla="*/ 2494 w 3333"/>
                  <a:gd name="T15" fmla="*/ 0 h 2570"/>
                  <a:gd name="T16" fmla="*/ 2418 w 3333"/>
                  <a:gd name="T17" fmla="*/ 75 h 2570"/>
                  <a:gd name="T18" fmla="*/ 2494 w 3333"/>
                  <a:gd name="T19" fmla="*/ 151 h 2570"/>
                  <a:gd name="T20" fmla="*/ 2514 w 3333"/>
                  <a:gd name="T21" fmla="*/ 151 h 2570"/>
                  <a:gd name="T22" fmla="*/ 2426 w 3333"/>
                  <a:gd name="T23" fmla="*/ 782 h 2570"/>
                  <a:gd name="T24" fmla="*/ 2339 w 3333"/>
                  <a:gd name="T25" fmla="*/ 967 h 2570"/>
                  <a:gd name="T26" fmla="*/ 2267 w 3333"/>
                  <a:gd name="T27" fmla="*/ 1185 h 2570"/>
                  <a:gd name="T28" fmla="*/ 2267 w 3333"/>
                  <a:gd name="T29" fmla="*/ 1360 h 2570"/>
                  <a:gd name="T30" fmla="*/ 2267 w 3333"/>
                  <a:gd name="T31" fmla="*/ 2331 h 2570"/>
                  <a:gd name="T32" fmla="*/ 2460 w 3333"/>
                  <a:gd name="T33" fmla="*/ 2570 h 2570"/>
                  <a:gd name="T34" fmla="*/ 3131 w 3333"/>
                  <a:gd name="T35" fmla="*/ 2570 h 2570"/>
                  <a:gd name="T36" fmla="*/ 3325 w 3333"/>
                  <a:gd name="T37" fmla="*/ 2327 h 2570"/>
                  <a:gd name="T38" fmla="*/ 3325 w 3333"/>
                  <a:gd name="T39" fmla="*/ 1360 h 2570"/>
                  <a:gd name="T40" fmla="*/ 3325 w 3333"/>
                  <a:gd name="T41" fmla="*/ 1208 h 2570"/>
                  <a:gd name="T42" fmla="*/ 3174 w 3333"/>
                  <a:gd name="T43" fmla="*/ 1202 h 2570"/>
                  <a:gd name="T44" fmla="*/ 3174 w 3333"/>
                  <a:gd name="T45" fmla="*/ 1360 h 2570"/>
                  <a:gd name="T46" fmla="*/ 2418 w 3333"/>
                  <a:gd name="T47" fmla="*/ 1360 h 2570"/>
                  <a:gd name="T48" fmla="*/ 2418 w 3333"/>
                  <a:gd name="T49" fmla="*/ 1185 h 2570"/>
                  <a:gd name="T50" fmla="*/ 2457 w 3333"/>
                  <a:gd name="T51" fmla="*/ 1062 h 2570"/>
                  <a:gd name="T52" fmla="*/ 2457 w 3333"/>
                  <a:gd name="T53" fmla="*/ 1062 h 2570"/>
                  <a:gd name="T54" fmla="*/ 2575 w 3333"/>
                  <a:gd name="T55" fmla="*/ 807 h 2570"/>
                  <a:gd name="T56" fmla="*/ 2575 w 3333"/>
                  <a:gd name="T57" fmla="*/ 805 h 2570"/>
                  <a:gd name="T58" fmla="*/ 2575 w 3333"/>
                  <a:gd name="T59" fmla="*/ 803 h 2570"/>
                  <a:gd name="T60" fmla="*/ 2667 w 3333"/>
                  <a:gd name="T61" fmla="*/ 151 h 2570"/>
                  <a:gd name="T62" fmla="*/ 2925 w 3333"/>
                  <a:gd name="T63" fmla="*/ 151 h 2570"/>
                  <a:gd name="T64" fmla="*/ 3018 w 3333"/>
                  <a:gd name="T65" fmla="*/ 807 h 2570"/>
                  <a:gd name="T66" fmla="*/ 3018 w 3333"/>
                  <a:gd name="T67" fmla="*/ 809 h 2570"/>
                  <a:gd name="T68" fmla="*/ 3018 w 3333"/>
                  <a:gd name="T69" fmla="*/ 811 h 2570"/>
                  <a:gd name="T70" fmla="*/ 3134 w 3333"/>
                  <a:gd name="T71" fmla="*/ 1060 h 2570"/>
                  <a:gd name="T72" fmla="*/ 3134 w 3333"/>
                  <a:gd name="T73" fmla="*/ 1060 h 2570"/>
                  <a:gd name="T74" fmla="*/ 3174 w 3333"/>
                  <a:gd name="T75" fmla="*/ 1202 h 2570"/>
                  <a:gd name="T76" fmla="*/ 2116 w 3333"/>
                  <a:gd name="T77" fmla="*/ 2279 h 2570"/>
                  <a:gd name="T78" fmla="*/ 1862 w 3333"/>
                  <a:gd name="T79" fmla="*/ 2570 h 2570"/>
                  <a:gd name="T80" fmla="*/ 253 w 3333"/>
                  <a:gd name="T81" fmla="*/ 2569 h 2570"/>
                  <a:gd name="T82" fmla="*/ 0 w 3333"/>
                  <a:gd name="T83" fmla="*/ 2281 h 2570"/>
                  <a:gd name="T84" fmla="*/ 400 w 3333"/>
                  <a:gd name="T85" fmla="*/ 1822 h 2570"/>
                  <a:gd name="T86" fmla="*/ 586 w 3333"/>
                  <a:gd name="T87" fmla="*/ 1733 h 2570"/>
                  <a:gd name="T88" fmla="*/ 513 w 3333"/>
                  <a:gd name="T89" fmla="*/ 2080 h 2570"/>
                  <a:gd name="T90" fmla="*/ 597 w 3333"/>
                  <a:gd name="T91" fmla="*/ 2164 h 2570"/>
                  <a:gd name="T92" fmla="*/ 681 w 3333"/>
                  <a:gd name="T93" fmla="*/ 2080 h 2570"/>
                  <a:gd name="T94" fmla="*/ 808 w 3333"/>
                  <a:gd name="T95" fmla="*/ 1674 h 2570"/>
                  <a:gd name="T96" fmla="*/ 1050 w 3333"/>
                  <a:gd name="T97" fmla="*/ 1660 h 2570"/>
                  <a:gd name="T98" fmla="*/ 941 w 3333"/>
                  <a:gd name="T99" fmla="*/ 2080 h 2570"/>
                  <a:gd name="T100" fmla="*/ 1025 w 3333"/>
                  <a:gd name="T101" fmla="*/ 2164 h 2570"/>
                  <a:gd name="T102" fmla="*/ 1110 w 3333"/>
                  <a:gd name="T103" fmla="*/ 2080 h 2570"/>
                  <a:gd name="T104" fmla="*/ 1242 w 3333"/>
                  <a:gd name="T105" fmla="*/ 1667 h 2570"/>
                  <a:gd name="T106" fmla="*/ 1483 w 3333"/>
                  <a:gd name="T107" fmla="*/ 1713 h 2570"/>
                  <a:gd name="T108" fmla="*/ 1400 w 3333"/>
                  <a:gd name="T109" fmla="*/ 2080 h 2570"/>
                  <a:gd name="T110" fmla="*/ 1484 w 3333"/>
                  <a:gd name="T111" fmla="*/ 2164 h 2570"/>
                  <a:gd name="T112" fmla="*/ 1568 w 3333"/>
                  <a:gd name="T113" fmla="*/ 2080 h 2570"/>
                  <a:gd name="T114" fmla="*/ 1638 w 3333"/>
                  <a:gd name="T115" fmla="*/ 1776 h 2570"/>
                  <a:gd name="T116" fmla="*/ 1710 w 3333"/>
                  <a:gd name="T117" fmla="*/ 1812 h 2570"/>
                  <a:gd name="T118" fmla="*/ 2116 w 3333"/>
                  <a:gd name="T119" fmla="*/ 2279 h 2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33" h="2570">
                    <a:moveTo>
                      <a:pt x="3325" y="1208"/>
                    </a:moveTo>
                    <a:cubicBezTo>
                      <a:pt x="3327" y="1181"/>
                      <a:pt x="3327" y="1062"/>
                      <a:pt x="3253" y="967"/>
                    </a:cubicBezTo>
                    <a:cubicBezTo>
                      <a:pt x="3252" y="966"/>
                      <a:pt x="3183" y="879"/>
                      <a:pt x="3167" y="786"/>
                    </a:cubicBezTo>
                    <a:cubicBezTo>
                      <a:pt x="3078" y="151"/>
                      <a:pt x="3078" y="151"/>
                      <a:pt x="3078" y="151"/>
                    </a:cubicBezTo>
                    <a:cubicBezTo>
                      <a:pt x="3099" y="151"/>
                      <a:pt x="3099" y="151"/>
                      <a:pt x="3099" y="151"/>
                    </a:cubicBezTo>
                    <a:cubicBezTo>
                      <a:pt x="3140" y="151"/>
                      <a:pt x="3174" y="117"/>
                      <a:pt x="3174" y="75"/>
                    </a:cubicBezTo>
                    <a:cubicBezTo>
                      <a:pt x="3174" y="33"/>
                      <a:pt x="3140" y="0"/>
                      <a:pt x="3099" y="0"/>
                    </a:cubicBezTo>
                    <a:cubicBezTo>
                      <a:pt x="2494" y="0"/>
                      <a:pt x="2494" y="0"/>
                      <a:pt x="2494" y="0"/>
                    </a:cubicBezTo>
                    <a:cubicBezTo>
                      <a:pt x="2452" y="0"/>
                      <a:pt x="2418" y="33"/>
                      <a:pt x="2418" y="75"/>
                    </a:cubicBezTo>
                    <a:cubicBezTo>
                      <a:pt x="2418" y="117"/>
                      <a:pt x="2452" y="151"/>
                      <a:pt x="2494" y="151"/>
                    </a:cubicBezTo>
                    <a:cubicBezTo>
                      <a:pt x="2514" y="151"/>
                      <a:pt x="2514" y="151"/>
                      <a:pt x="2514" y="151"/>
                    </a:cubicBezTo>
                    <a:cubicBezTo>
                      <a:pt x="2426" y="782"/>
                      <a:pt x="2426" y="782"/>
                      <a:pt x="2426" y="782"/>
                    </a:cubicBezTo>
                    <a:cubicBezTo>
                      <a:pt x="2409" y="879"/>
                      <a:pt x="2340" y="966"/>
                      <a:pt x="2339" y="967"/>
                    </a:cubicBezTo>
                    <a:cubicBezTo>
                      <a:pt x="2332" y="976"/>
                      <a:pt x="2267" y="1060"/>
                      <a:pt x="2267" y="1185"/>
                    </a:cubicBezTo>
                    <a:cubicBezTo>
                      <a:pt x="2267" y="1360"/>
                      <a:pt x="2267" y="1360"/>
                      <a:pt x="2267" y="1360"/>
                    </a:cubicBezTo>
                    <a:cubicBezTo>
                      <a:pt x="2267" y="2331"/>
                      <a:pt x="2267" y="2331"/>
                      <a:pt x="2267" y="2331"/>
                    </a:cubicBezTo>
                    <a:cubicBezTo>
                      <a:pt x="2267" y="2366"/>
                      <a:pt x="2275" y="2570"/>
                      <a:pt x="2460" y="2570"/>
                    </a:cubicBezTo>
                    <a:cubicBezTo>
                      <a:pt x="3131" y="2570"/>
                      <a:pt x="3131" y="2570"/>
                      <a:pt x="3131" y="2570"/>
                    </a:cubicBezTo>
                    <a:cubicBezTo>
                      <a:pt x="3333" y="2570"/>
                      <a:pt x="3325" y="2327"/>
                      <a:pt x="3325" y="2327"/>
                    </a:cubicBezTo>
                    <a:cubicBezTo>
                      <a:pt x="3325" y="1360"/>
                      <a:pt x="3325" y="1360"/>
                      <a:pt x="3325" y="1360"/>
                    </a:cubicBezTo>
                    <a:lnTo>
                      <a:pt x="3325" y="1208"/>
                    </a:lnTo>
                    <a:close/>
                    <a:moveTo>
                      <a:pt x="3174" y="1202"/>
                    </a:moveTo>
                    <a:cubicBezTo>
                      <a:pt x="3174" y="1360"/>
                      <a:pt x="3174" y="1360"/>
                      <a:pt x="3174" y="1360"/>
                    </a:cubicBezTo>
                    <a:cubicBezTo>
                      <a:pt x="2418" y="1360"/>
                      <a:pt x="2418" y="1360"/>
                      <a:pt x="2418" y="1360"/>
                    </a:cubicBezTo>
                    <a:cubicBezTo>
                      <a:pt x="2418" y="1185"/>
                      <a:pt x="2418" y="1185"/>
                      <a:pt x="2418" y="1185"/>
                    </a:cubicBezTo>
                    <a:cubicBezTo>
                      <a:pt x="2418" y="1113"/>
                      <a:pt x="2457" y="1062"/>
                      <a:pt x="2457" y="1062"/>
                    </a:cubicBezTo>
                    <a:cubicBezTo>
                      <a:pt x="2457" y="1062"/>
                      <a:pt x="2457" y="1062"/>
                      <a:pt x="2457" y="1062"/>
                    </a:cubicBezTo>
                    <a:cubicBezTo>
                      <a:pt x="2472" y="1043"/>
                      <a:pt x="2553" y="936"/>
                      <a:pt x="2575" y="807"/>
                    </a:cubicBezTo>
                    <a:cubicBezTo>
                      <a:pt x="2575" y="805"/>
                      <a:pt x="2575" y="805"/>
                      <a:pt x="2575" y="805"/>
                    </a:cubicBezTo>
                    <a:cubicBezTo>
                      <a:pt x="2575" y="803"/>
                      <a:pt x="2575" y="803"/>
                      <a:pt x="2575" y="803"/>
                    </a:cubicBezTo>
                    <a:cubicBezTo>
                      <a:pt x="2667" y="151"/>
                      <a:pt x="2667" y="151"/>
                      <a:pt x="2667" y="151"/>
                    </a:cubicBezTo>
                    <a:cubicBezTo>
                      <a:pt x="2925" y="151"/>
                      <a:pt x="2925" y="151"/>
                      <a:pt x="2925" y="151"/>
                    </a:cubicBezTo>
                    <a:cubicBezTo>
                      <a:pt x="3018" y="807"/>
                      <a:pt x="3018" y="807"/>
                      <a:pt x="3018" y="807"/>
                    </a:cubicBezTo>
                    <a:cubicBezTo>
                      <a:pt x="3018" y="809"/>
                      <a:pt x="3018" y="809"/>
                      <a:pt x="3018" y="809"/>
                    </a:cubicBezTo>
                    <a:cubicBezTo>
                      <a:pt x="3018" y="811"/>
                      <a:pt x="3018" y="811"/>
                      <a:pt x="3018" y="811"/>
                    </a:cubicBezTo>
                    <a:cubicBezTo>
                      <a:pt x="3040" y="935"/>
                      <a:pt x="3117" y="1038"/>
                      <a:pt x="3134" y="1060"/>
                    </a:cubicBezTo>
                    <a:cubicBezTo>
                      <a:pt x="3134" y="1060"/>
                      <a:pt x="3134" y="1060"/>
                      <a:pt x="3134" y="1060"/>
                    </a:cubicBezTo>
                    <a:cubicBezTo>
                      <a:pt x="3169" y="1105"/>
                      <a:pt x="3176" y="1170"/>
                      <a:pt x="3174" y="1202"/>
                    </a:cubicBezTo>
                    <a:close/>
                    <a:moveTo>
                      <a:pt x="2116" y="2279"/>
                    </a:moveTo>
                    <a:cubicBezTo>
                      <a:pt x="2116" y="2394"/>
                      <a:pt x="2101" y="2570"/>
                      <a:pt x="1862" y="2570"/>
                    </a:cubicBezTo>
                    <a:cubicBezTo>
                      <a:pt x="1749" y="2570"/>
                      <a:pt x="492" y="2569"/>
                      <a:pt x="253" y="2569"/>
                    </a:cubicBezTo>
                    <a:cubicBezTo>
                      <a:pt x="14" y="2569"/>
                      <a:pt x="0" y="2396"/>
                      <a:pt x="0" y="2281"/>
                    </a:cubicBezTo>
                    <a:cubicBezTo>
                      <a:pt x="0" y="2173"/>
                      <a:pt x="186" y="1932"/>
                      <a:pt x="400" y="1822"/>
                    </a:cubicBezTo>
                    <a:cubicBezTo>
                      <a:pt x="469" y="1786"/>
                      <a:pt x="528" y="1757"/>
                      <a:pt x="586" y="1733"/>
                    </a:cubicBezTo>
                    <a:cubicBezTo>
                      <a:pt x="535" y="1856"/>
                      <a:pt x="513" y="1984"/>
                      <a:pt x="513" y="2080"/>
                    </a:cubicBezTo>
                    <a:cubicBezTo>
                      <a:pt x="513" y="2127"/>
                      <a:pt x="550" y="2164"/>
                      <a:pt x="597" y="2164"/>
                    </a:cubicBezTo>
                    <a:cubicBezTo>
                      <a:pt x="643" y="2164"/>
                      <a:pt x="681" y="2127"/>
                      <a:pt x="681" y="2080"/>
                    </a:cubicBezTo>
                    <a:cubicBezTo>
                      <a:pt x="681" y="1971"/>
                      <a:pt x="718" y="1805"/>
                      <a:pt x="808" y="1674"/>
                    </a:cubicBezTo>
                    <a:cubicBezTo>
                      <a:pt x="875" y="1665"/>
                      <a:pt x="953" y="1660"/>
                      <a:pt x="1050" y="1660"/>
                    </a:cubicBezTo>
                    <a:cubicBezTo>
                      <a:pt x="974" y="1804"/>
                      <a:pt x="941" y="1964"/>
                      <a:pt x="941" y="2080"/>
                    </a:cubicBezTo>
                    <a:cubicBezTo>
                      <a:pt x="941" y="2127"/>
                      <a:pt x="979" y="2164"/>
                      <a:pt x="1025" y="2164"/>
                    </a:cubicBezTo>
                    <a:cubicBezTo>
                      <a:pt x="1072" y="2164"/>
                      <a:pt x="1110" y="2127"/>
                      <a:pt x="1110" y="2080"/>
                    </a:cubicBezTo>
                    <a:cubicBezTo>
                      <a:pt x="1110" y="1969"/>
                      <a:pt x="1148" y="1799"/>
                      <a:pt x="1242" y="1667"/>
                    </a:cubicBezTo>
                    <a:cubicBezTo>
                      <a:pt x="1338" y="1675"/>
                      <a:pt x="1414" y="1690"/>
                      <a:pt x="1483" y="1713"/>
                    </a:cubicBezTo>
                    <a:cubicBezTo>
                      <a:pt x="1425" y="1842"/>
                      <a:pt x="1400" y="1978"/>
                      <a:pt x="1400" y="2080"/>
                    </a:cubicBezTo>
                    <a:cubicBezTo>
                      <a:pt x="1400" y="2127"/>
                      <a:pt x="1438" y="2164"/>
                      <a:pt x="1484" y="2164"/>
                    </a:cubicBezTo>
                    <a:cubicBezTo>
                      <a:pt x="1531" y="2164"/>
                      <a:pt x="1568" y="2127"/>
                      <a:pt x="1568" y="2080"/>
                    </a:cubicBezTo>
                    <a:cubicBezTo>
                      <a:pt x="1568" y="1998"/>
                      <a:pt x="1589" y="1884"/>
                      <a:pt x="1638" y="1776"/>
                    </a:cubicBezTo>
                    <a:cubicBezTo>
                      <a:pt x="1662" y="1788"/>
                      <a:pt x="1685" y="1799"/>
                      <a:pt x="1710" y="1812"/>
                    </a:cubicBezTo>
                    <a:cubicBezTo>
                      <a:pt x="1909" y="1914"/>
                      <a:pt x="2116" y="2164"/>
                      <a:pt x="2116" y="227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/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B021CE81-3277-4CB1-980B-EC8555EF92B0}"/>
                </a:ext>
              </a:extLst>
            </p:cNvPr>
            <p:cNvSpPr txBox="1"/>
            <p:nvPr/>
          </p:nvSpPr>
          <p:spPr>
            <a:xfrm>
              <a:off x="12809177" y="6020715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Changes to diet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D41E3B0-1F2E-4434-BA95-1DF1451EFEA2}"/>
              </a:ext>
            </a:extLst>
          </p:cNvPr>
          <p:cNvGrpSpPr/>
          <p:nvPr/>
        </p:nvGrpSpPr>
        <p:grpSpPr>
          <a:xfrm>
            <a:off x="6396460" y="2301044"/>
            <a:ext cx="1847441" cy="894803"/>
            <a:chOff x="11326587" y="5404355"/>
            <a:chExt cx="1847441" cy="894803"/>
          </a:xfrm>
        </p:grpSpPr>
        <p:grpSp>
          <p:nvGrpSpPr>
            <p:cNvPr id="22" name="Icon 2">
              <a:extLst>
                <a:ext uri="{FF2B5EF4-FFF2-40B4-BE49-F238E27FC236}">
                  <a16:creationId xmlns:a16="http://schemas.microsoft.com/office/drawing/2014/main" id="{CB81FE6F-46B9-4FFD-94EC-68CB7E5D2DC6}"/>
                </a:ext>
              </a:extLst>
            </p:cNvPr>
            <p:cNvGrpSpPr/>
            <p:nvPr/>
          </p:nvGrpSpPr>
          <p:grpSpPr>
            <a:xfrm>
              <a:off x="11854226" y="5404355"/>
              <a:ext cx="792163" cy="792162"/>
              <a:chOff x="1684641" y="1954981"/>
              <a:chExt cx="792163" cy="792162"/>
            </a:xfrm>
          </p:grpSpPr>
          <p:sp>
            <p:nvSpPr>
              <p:cNvPr id="23" name="AutoShape 314">
                <a:extLst>
                  <a:ext uri="{FF2B5EF4-FFF2-40B4-BE49-F238E27FC236}">
                    <a16:creationId xmlns:a16="http://schemas.microsoft.com/office/drawing/2014/main" id="{16DC4E84-0E33-4EB6-BF14-C6C080495DB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4641" y="1954981"/>
                <a:ext cx="792163" cy="79216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16">
                <a:extLst>
                  <a:ext uri="{FF2B5EF4-FFF2-40B4-BE49-F238E27FC236}">
                    <a16:creationId xmlns:a16="http://schemas.microsoft.com/office/drawing/2014/main" id="{11F8E64B-D331-4E9F-91B5-FE9C4EE855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97366" y="2124843"/>
                <a:ext cx="360363" cy="411162"/>
              </a:xfrm>
              <a:custGeom>
                <a:avLst/>
                <a:gdLst>
                  <a:gd name="T0" fmla="*/ 446 w 2822"/>
                  <a:gd name="T1" fmla="*/ 2850 h 3212"/>
                  <a:gd name="T2" fmla="*/ 284 w 2822"/>
                  <a:gd name="T3" fmla="*/ 2658 h 3212"/>
                  <a:gd name="T4" fmla="*/ 712 w 2822"/>
                  <a:gd name="T5" fmla="*/ 2128 h 3212"/>
                  <a:gd name="T6" fmla="*/ 459 w 2822"/>
                  <a:gd name="T7" fmla="*/ 1777 h 3212"/>
                  <a:gd name="T8" fmla="*/ 463 w 2822"/>
                  <a:gd name="T9" fmla="*/ 1401 h 3212"/>
                  <a:gd name="T10" fmla="*/ 477 w 2822"/>
                  <a:gd name="T11" fmla="*/ 708 h 3212"/>
                  <a:gd name="T12" fmla="*/ 315 w 2822"/>
                  <a:gd name="T13" fmla="*/ 516 h 3212"/>
                  <a:gd name="T14" fmla="*/ 743 w 2822"/>
                  <a:gd name="T15" fmla="*/ 0 h 3212"/>
                  <a:gd name="T16" fmla="*/ 296 w 2822"/>
                  <a:gd name="T17" fmla="*/ 177 h 3212"/>
                  <a:gd name="T18" fmla="*/ 282 w 2822"/>
                  <a:gd name="T19" fmla="*/ 869 h 3212"/>
                  <a:gd name="T20" fmla="*/ 444 w 2822"/>
                  <a:gd name="T21" fmla="*/ 1061 h 3212"/>
                  <a:gd name="T22" fmla="*/ 15 w 2822"/>
                  <a:gd name="T23" fmla="*/ 1591 h 3212"/>
                  <a:gd name="T24" fmla="*/ 269 w 2822"/>
                  <a:gd name="T25" fmla="*/ 1942 h 3212"/>
                  <a:gd name="T26" fmla="*/ 265 w 2822"/>
                  <a:gd name="T27" fmla="*/ 2319 h 3212"/>
                  <a:gd name="T28" fmla="*/ 249 w 2822"/>
                  <a:gd name="T29" fmla="*/ 3005 h 3212"/>
                  <a:gd name="T30" fmla="*/ 697 w 2822"/>
                  <a:gd name="T31" fmla="*/ 3212 h 3212"/>
                  <a:gd name="T32" fmla="*/ 1485 w 2822"/>
                  <a:gd name="T33" fmla="*/ 2850 h 3212"/>
                  <a:gd name="T34" fmla="*/ 1323 w 2822"/>
                  <a:gd name="T35" fmla="*/ 2658 h 3212"/>
                  <a:gd name="T36" fmla="*/ 1752 w 2822"/>
                  <a:gd name="T37" fmla="*/ 2128 h 3212"/>
                  <a:gd name="T38" fmla="*/ 1498 w 2822"/>
                  <a:gd name="T39" fmla="*/ 1777 h 3212"/>
                  <a:gd name="T40" fmla="*/ 1503 w 2822"/>
                  <a:gd name="T41" fmla="*/ 1401 h 3212"/>
                  <a:gd name="T42" fmla="*/ 1517 w 2822"/>
                  <a:gd name="T43" fmla="*/ 708 h 3212"/>
                  <a:gd name="T44" fmla="*/ 1355 w 2822"/>
                  <a:gd name="T45" fmla="*/ 516 h 3212"/>
                  <a:gd name="T46" fmla="*/ 1783 w 2822"/>
                  <a:gd name="T47" fmla="*/ 0 h 3212"/>
                  <a:gd name="T48" fmla="*/ 1335 w 2822"/>
                  <a:gd name="T49" fmla="*/ 177 h 3212"/>
                  <a:gd name="T50" fmla="*/ 1321 w 2822"/>
                  <a:gd name="T51" fmla="*/ 869 h 3212"/>
                  <a:gd name="T52" fmla="*/ 1483 w 2822"/>
                  <a:gd name="T53" fmla="*/ 1061 h 3212"/>
                  <a:gd name="T54" fmla="*/ 1055 w 2822"/>
                  <a:gd name="T55" fmla="*/ 1591 h 3212"/>
                  <a:gd name="T56" fmla="*/ 1308 w 2822"/>
                  <a:gd name="T57" fmla="*/ 1942 h 3212"/>
                  <a:gd name="T58" fmla="*/ 1304 w 2822"/>
                  <a:gd name="T59" fmla="*/ 2319 h 3212"/>
                  <a:gd name="T60" fmla="*/ 1289 w 2822"/>
                  <a:gd name="T61" fmla="*/ 3005 h 3212"/>
                  <a:gd name="T62" fmla="*/ 1736 w 2822"/>
                  <a:gd name="T63" fmla="*/ 3212 h 3212"/>
                  <a:gd name="T64" fmla="*/ 2328 w 2822"/>
                  <a:gd name="T65" fmla="*/ 3005 h 3212"/>
                  <a:gd name="T66" fmla="*/ 2343 w 2822"/>
                  <a:gd name="T67" fmla="*/ 2319 h 3212"/>
                  <a:gd name="T68" fmla="*/ 2348 w 2822"/>
                  <a:gd name="T69" fmla="*/ 1942 h 3212"/>
                  <a:gd name="T70" fmla="*/ 2094 w 2822"/>
                  <a:gd name="T71" fmla="*/ 1591 h 3212"/>
                  <a:gd name="T72" fmla="*/ 2523 w 2822"/>
                  <a:gd name="T73" fmla="*/ 1061 h 3212"/>
                  <a:gd name="T74" fmla="*/ 2360 w 2822"/>
                  <a:gd name="T75" fmla="*/ 869 h 3212"/>
                  <a:gd name="T76" fmla="*/ 2375 w 2822"/>
                  <a:gd name="T77" fmla="*/ 177 h 3212"/>
                  <a:gd name="T78" fmla="*/ 2822 w 2822"/>
                  <a:gd name="T79" fmla="*/ 0 h 3212"/>
                  <a:gd name="T80" fmla="*/ 2394 w 2822"/>
                  <a:gd name="T81" fmla="*/ 516 h 3212"/>
                  <a:gd name="T82" fmla="*/ 2556 w 2822"/>
                  <a:gd name="T83" fmla="*/ 708 h 3212"/>
                  <a:gd name="T84" fmla="*/ 2542 w 2822"/>
                  <a:gd name="T85" fmla="*/ 1401 h 3212"/>
                  <a:gd name="T86" fmla="*/ 2538 w 2822"/>
                  <a:gd name="T87" fmla="*/ 1777 h 3212"/>
                  <a:gd name="T88" fmla="*/ 2791 w 2822"/>
                  <a:gd name="T89" fmla="*/ 2128 h 3212"/>
                  <a:gd name="T90" fmla="*/ 2363 w 2822"/>
                  <a:gd name="T91" fmla="*/ 2658 h 3212"/>
                  <a:gd name="T92" fmla="*/ 2525 w 2822"/>
                  <a:gd name="T93" fmla="*/ 2850 h 3212"/>
                  <a:gd name="T94" fmla="*/ 2487 w 2822"/>
                  <a:gd name="T95" fmla="*/ 3212 h 3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822" h="3212">
                    <a:moveTo>
                      <a:pt x="697" y="3212"/>
                    </a:moveTo>
                    <a:cubicBezTo>
                      <a:pt x="693" y="3039"/>
                      <a:pt x="550" y="2919"/>
                      <a:pt x="446" y="2850"/>
                    </a:cubicBezTo>
                    <a:lnTo>
                      <a:pt x="443" y="2848"/>
                    </a:lnTo>
                    <a:cubicBezTo>
                      <a:pt x="336" y="2779"/>
                      <a:pt x="284" y="2742"/>
                      <a:pt x="284" y="2658"/>
                    </a:cubicBezTo>
                    <a:cubicBezTo>
                      <a:pt x="284" y="2575"/>
                      <a:pt x="337" y="2539"/>
                      <a:pt x="448" y="2471"/>
                    </a:cubicBezTo>
                    <a:cubicBezTo>
                      <a:pt x="551" y="2409"/>
                      <a:pt x="709" y="2314"/>
                      <a:pt x="712" y="2128"/>
                    </a:cubicBezTo>
                    <a:cubicBezTo>
                      <a:pt x="716" y="1947"/>
                      <a:pt x="569" y="1850"/>
                      <a:pt x="462" y="1779"/>
                    </a:cubicBezTo>
                    <a:lnTo>
                      <a:pt x="459" y="1777"/>
                    </a:lnTo>
                    <a:cubicBezTo>
                      <a:pt x="351" y="1708"/>
                      <a:pt x="300" y="1671"/>
                      <a:pt x="300" y="1587"/>
                    </a:cubicBezTo>
                    <a:cubicBezTo>
                      <a:pt x="300" y="1504"/>
                      <a:pt x="353" y="1468"/>
                      <a:pt x="463" y="1401"/>
                    </a:cubicBezTo>
                    <a:cubicBezTo>
                      <a:pt x="567" y="1338"/>
                      <a:pt x="724" y="1243"/>
                      <a:pt x="728" y="1057"/>
                    </a:cubicBezTo>
                    <a:cubicBezTo>
                      <a:pt x="732" y="876"/>
                      <a:pt x="585" y="779"/>
                      <a:pt x="477" y="708"/>
                    </a:cubicBezTo>
                    <a:lnTo>
                      <a:pt x="475" y="707"/>
                    </a:lnTo>
                    <a:cubicBezTo>
                      <a:pt x="367" y="637"/>
                      <a:pt x="315" y="600"/>
                      <a:pt x="315" y="516"/>
                    </a:cubicBezTo>
                    <a:cubicBezTo>
                      <a:pt x="315" y="433"/>
                      <a:pt x="368" y="397"/>
                      <a:pt x="479" y="330"/>
                    </a:cubicBezTo>
                    <a:cubicBezTo>
                      <a:pt x="580" y="269"/>
                      <a:pt x="732" y="177"/>
                      <a:pt x="743" y="0"/>
                    </a:cubicBezTo>
                    <a:lnTo>
                      <a:pt x="459" y="0"/>
                    </a:lnTo>
                    <a:cubicBezTo>
                      <a:pt x="453" y="77"/>
                      <a:pt x="393" y="118"/>
                      <a:pt x="296" y="177"/>
                    </a:cubicBezTo>
                    <a:cubicBezTo>
                      <a:pt x="192" y="240"/>
                      <a:pt x="35" y="334"/>
                      <a:pt x="31" y="520"/>
                    </a:cubicBezTo>
                    <a:cubicBezTo>
                      <a:pt x="27" y="702"/>
                      <a:pt x="174" y="799"/>
                      <a:pt x="282" y="869"/>
                    </a:cubicBezTo>
                    <a:lnTo>
                      <a:pt x="285" y="871"/>
                    </a:lnTo>
                    <a:cubicBezTo>
                      <a:pt x="392" y="941"/>
                      <a:pt x="444" y="978"/>
                      <a:pt x="444" y="1061"/>
                    </a:cubicBezTo>
                    <a:cubicBezTo>
                      <a:pt x="444" y="1144"/>
                      <a:pt x="391" y="1180"/>
                      <a:pt x="280" y="1248"/>
                    </a:cubicBezTo>
                    <a:cubicBezTo>
                      <a:pt x="176" y="1311"/>
                      <a:pt x="19" y="1405"/>
                      <a:pt x="15" y="1591"/>
                    </a:cubicBezTo>
                    <a:cubicBezTo>
                      <a:pt x="12" y="1773"/>
                      <a:pt x="159" y="1870"/>
                      <a:pt x="266" y="1940"/>
                    </a:cubicBezTo>
                    <a:lnTo>
                      <a:pt x="269" y="1942"/>
                    </a:lnTo>
                    <a:cubicBezTo>
                      <a:pt x="376" y="2012"/>
                      <a:pt x="428" y="2049"/>
                      <a:pt x="428" y="2132"/>
                    </a:cubicBezTo>
                    <a:cubicBezTo>
                      <a:pt x="428" y="2215"/>
                      <a:pt x="375" y="2251"/>
                      <a:pt x="265" y="2319"/>
                    </a:cubicBezTo>
                    <a:cubicBezTo>
                      <a:pt x="161" y="2381"/>
                      <a:pt x="4" y="2476"/>
                      <a:pt x="0" y="2662"/>
                    </a:cubicBezTo>
                    <a:cubicBezTo>
                      <a:pt x="0" y="2844"/>
                      <a:pt x="150" y="2941"/>
                      <a:pt x="249" y="3005"/>
                    </a:cubicBezTo>
                    <a:cubicBezTo>
                      <a:pt x="344" y="3067"/>
                      <a:pt x="402" y="3136"/>
                      <a:pt x="408" y="3212"/>
                    </a:cubicBezTo>
                    <a:lnTo>
                      <a:pt x="697" y="3212"/>
                    </a:lnTo>
                    <a:close/>
                    <a:moveTo>
                      <a:pt x="1736" y="3212"/>
                    </a:moveTo>
                    <a:cubicBezTo>
                      <a:pt x="1733" y="3039"/>
                      <a:pt x="1590" y="2919"/>
                      <a:pt x="1485" y="2850"/>
                    </a:cubicBezTo>
                    <a:lnTo>
                      <a:pt x="1483" y="2848"/>
                    </a:lnTo>
                    <a:cubicBezTo>
                      <a:pt x="1375" y="2779"/>
                      <a:pt x="1323" y="2742"/>
                      <a:pt x="1323" y="2658"/>
                    </a:cubicBezTo>
                    <a:cubicBezTo>
                      <a:pt x="1323" y="2575"/>
                      <a:pt x="1376" y="2539"/>
                      <a:pt x="1487" y="2471"/>
                    </a:cubicBezTo>
                    <a:cubicBezTo>
                      <a:pt x="1591" y="2409"/>
                      <a:pt x="1748" y="2314"/>
                      <a:pt x="1752" y="2128"/>
                    </a:cubicBezTo>
                    <a:cubicBezTo>
                      <a:pt x="1755" y="1947"/>
                      <a:pt x="1608" y="1850"/>
                      <a:pt x="1501" y="1779"/>
                    </a:cubicBezTo>
                    <a:lnTo>
                      <a:pt x="1498" y="1777"/>
                    </a:lnTo>
                    <a:cubicBezTo>
                      <a:pt x="1391" y="1708"/>
                      <a:pt x="1339" y="1671"/>
                      <a:pt x="1339" y="1587"/>
                    </a:cubicBezTo>
                    <a:cubicBezTo>
                      <a:pt x="1339" y="1504"/>
                      <a:pt x="1392" y="1468"/>
                      <a:pt x="1503" y="1401"/>
                    </a:cubicBezTo>
                    <a:cubicBezTo>
                      <a:pt x="1607" y="1338"/>
                      <a:pt x="1764" y="1243"/>
                      <a:pt x="1767" y="1057"/>
                    </a:cubicBezTo>
                    <a:cubicBezTo>
                      <a:pt x="1771" y="876"/>
                      <a:pt x="1624" y="779"/>
                      <a:pt x="1517" y="708"/>
                    </a:cubicBezTo>
                    <a:lnTo>
                      <a:pt x="1514" y="707"/>
                    </a:lnTo>
                    <a:cubicBezTo>
                      <a:pt x="1406" y="637"/>
                      <a:pt x="1355" y="600"/>
                      <a:pt x="1355" y="516"/>
                    </a:cubicBezTo>
                    <a:cubicBezTo>
                      <a:pt x="1355" y="433"/>
                      <a:pt x="1408" y="397"/>
                      <a:pt x="1518" y="330"/>
                    </a:cubicBezTo>
                    <a:cubicBezTo>
                      <a:pt x="1619" y="269"/>
                      <a:pt x="1772" y="177"/>
                      <a:pt x="1783" y="0"/>
                    </a:cubicBezTo>
                    <a:lnTo>
                      <a:pt x="1499" y="0"/>
                    </a:lnTo>
                    <a:cubicBezTo>
                      <a:pt x="1492" y="77"/>
                      <a:pt x="1432" y="118"/>
                      <a:pt x="1335" y="177"/>
                    </a:cubicBezTo>
                    <a:cubicBezTo>
                      <a:pt x="1231" y="240"/>
                      <a:pt x="1074" y="334"/>
                      <a:pt x="1070" y="520"/>
                    </a:cubicBezTo>
                    <a:cubicBezTo>
                      <a:pt x="1067" y="702"/>
                      <a:pt x="1214" y="799"/>
                      <a:pt x="1321" y="869"/>
                    </a:cubicBezTo>
                    <a:lnTo>
                      <a:pt x="1324" y="871"/>
                    </a:lnTo>
                    <a:cubicBezTo>
                      <a:pt x="1432" y="941"/>
                      <a:pt x="1483" y="978"/>
                      <a:pt x="1483" y="1061"/>
                    </a:cubicBezTo>
                    <a:cubicBezTo>
                      <a:pt x="1483" y="1144"/>
                      <a:pt x="1430" y="1180"/>
                      <a:pt x="1320" y="1248"/>
                    </a:cubicBezTo>
                    <a:cubicBezTo>
                      <a:pt x="1216" y="1311"/>
                      <a:pt x="1059" y="1405"/>
                      <a:pt x="1055" y="1591"/>
                    </a:cubicBezTo>
                    <a:cubicBezTo>
                      <a:pt x="1051" y="1773"/>
                      <a:pt x="1198" y="1870"/>
                      <a:pt x="1306" y="1940"/>
                    </a:cubicBezTo>
                    <a:lnTo>
                      <a:pt x="1308" y="1942"/>
                    </a:lnTo>
                    <a:cubicBezTo>
                      <a:pt x="1416" y="2012"/>
                      <a:pt x="1468" y="2049"/>
                      <a:pt x="1468" y="2132"/>
                    </a:cubicBezTo>
                    <a:cubicBezTo>
                      <a:pt x="1468" y="2215"/>
                      <a:pt x="1414" y="2251"/>
                      <a:pt x="1304" y="2319"/>
                    </a:cubicBezTo>
                    <a:cubicBezTo>
                      <a:pt x="1200" y="2381"/>
                      <a:pt x="1043" y="2476"/>
                      <a:pt x="1039" y="2662"/>
                    </a:cubicBezTo>
                    <a:cubicBezTo>
                      <a:pt x="1039" y="2844"/>
                      <a:pt x="1189" y="2941"/>
                      <a:pt x="1289" y="3005"/>
                    </a:cubicBezTo>
                    <a:cubicBezTo>
                      <a:pt x="1384" y="3067"/>
                      <a:pt x="1442" y="3136"/>
                      <a:pt x="1447" y="3212"/>
                    </a:cubicBezTo>
                    <a:lnTo>
                      <a:pt x="1736" y="3212"/>
                    </a:lnTo>
                    <a:close/>
                    <a:moveTo>
                      <a:pt x="2487" y="3212"/>
                    </a:moveTo>
                    <a:cubicBezTo>
                      <a:pt x="2481" y="3136"/>
                      <a:pt x="2423" y="3067"/>
                      <a:pt x="2328" y="3005"/>
                    </a:cubicBezTo>
                    <a:cubicBezTo>
                      <a:pt x="2229" y="2941"/>
                      <a:pt x="2078" y="2844"/>
                      <a:pt x="2078" y="2662"/>
                    </a:cubicBezTo>
                    <a:cubicBezTo>
                      <a:pt x="2082" y="2476"/>
                      <a:pt x="2239" y="2381"/>
                      <a:pt x="2343" y="2319"/>
                    </a:cubicBezTo>
                    <a:cubicBezTo>
                      <a:pt x="2454" y="2251"/>
                      <a:pt x="2507" y="2215"/>
                      <a:pt x="2507" y="2132"/>
                    </a:cubicBezTo>
                    <a:cubicBezTo>
                      <a:pt x="2507" y="2049"/>
                      <a:pt x="2455" y="2012"/>
                      <a:pt x="2348" y="1942"/>
                    </a:cubicBezTo>
                    <a:lnTo>
                      <a:pt x="2345" y="1940"/>
                    </a:lnTo>
                    <a:cubicBezTo>
                      <a:pt x="2238" y="1870"/>
                      <a:pt x="2090" y="1773"/>
                      <a:pt x="2094" y="1591"/>
                    </a:cubicBezTo>
                    <a:cubicBezTo>
                      <a:pt x="2098" y="1405"/>
                      <a:pt x="2255" y="1311"/>
                      <a:pt x="2359" y="1248"/>
                    </a:cubicBezTo>
                    <a:cubicBezTo>
                      <a:pt x="2470" y="1180"/>
                      <a:pt x="2523" y="1144"/>
                      <a:pt x="2523" y="1061"/>
                    </a:cubicBezTo>
                    <a:cubicBezTo>
                      <a:pt x="2523" y="978"/>
                      <a:pt x="2471" y="941"/>
                      <a:pt x="2363" y="871"/>
                    </a:cubicBezTo>
                    <a:lnTo>
                      <a:pt x="2360" y="869"/>
                    </a:lnTo>
                    <a:cubicBezTo>
                      <a:pt x="2253" y="799"/>
                      <a:pt x="2106" y="702"/>
                      <a:pt x="2110" y="520"/>
                    </a:cubicBezTo>
                    <a:cubicBezTo>
                      <a:pt x="2114" y="334"/>
                      <a:pt x="2271" y="240"/>
                      <a:pt x="2375" y="177"/>
                    </a:cubicBezTo>
                    <a:cubicBezTo>
                      <a:pt x="2472" y="118"/>
                      <a:pt x="2532" y="77"/>
                      <a:pt x="2538" y="0"/>
                    </a:cubicBezTo>
                    <a:lnTo>
                      <a:pt x="2822" y="0"/>
                    </a:lnTo>
                    <a:cubicBezTo>
                      <a:pt x="2811" y="177"/>
                      <a:pt x="2659" y="269"/>
                      <a:pt x="2558" y="330"/>
                    </a:cubicBezTo>
                    <a:cubicBezTo>
                      <a:pt x="2447" y="397"/>
                      <a:pt x="2394" y="433"/>
                      <a:pt x="2394" y="516"/>
                    </a:cubicBezTo>
                    <a:cubicBezTo>
                      <a:pt x="2394" y="600"/>
                      <a:pt x="2446" y="637"/>
                      <a:pt x="2553" y="707"/>
                    </a:cubicBezTo>
                    <a:lnTo>
                      <a:pt x="2556" y="708"/>
                    </a:lnTo>
                    <a:cubicBezTo>
                      <a:pt x="2664" y="779"/>
                      <a:pt x="2811" y="876"/>
                      <a:pt x="2807" y="1057"/>
                    </a:cubicBezTo>
                    <a:cubicBezTo>
                      <a:pt x="2803" y="1243"/>
                      <a:pt x="2646" y="1338"/>
                      <a:pt x="2542" y="1401"/>
                    </a:cubicBezTo>
                    <a:cubicBezTo>
                      <a:pt x="2431" y="1468"/>
                      <a:pt x="2378" y="1504"/>
                      <a:pt x="2378" y="1587"/>
                    </a:cubicBezTo>
                    <a:cubicBezTo>
                      <a:pt x="2378" y="1671"/>
                      <a:pt x="2430" y="1708"/>
                      <a:pt x="2538" y="1777"/>
                    </a:cubicBezTo>
                    <a:lnTo>
                      <a:pt x="2541" y="1779"/>
                    </a:lnTo>
                    <a:cubicBezTo>
                      <a:pt x="2648" y="1850"/>
                      <a:pt x="2795" y="1947"/>
                      <a:pt x="2791" y="2128"/>
                    </a:cubicBezTo>
                    <a:cubicBezTo>
                      <a:pt x="2787" y="2314"/>
                      <a:pt x="2630" y="2409"/>
                      <a:pt x="2526" y="2471"/>
                    </a:cubicBezTo>
                    <a:cubicBezTo>
                      <a:pt x="2416" y="2539"/>
                      <a:pt x="2363" y="2575"/>
                      <a:pt x="2363" y="2658"/>
                    </a:cubicBezTo>
                    <a:cubicBezTo>
                      <a:pt x="2363" y="2742"/>
                      <a:pt x="2414" y="2779"/>
                      <a:pt x="2522" y="2848"/>
                    </a:cubicBezTo>
                    <a:lnTo>
                      <a:pt x="2525" y="2850"/>
                    </a:lnTo>
                    <a:cubicBezTo>
                      <a:pt x="2629" y="2919"/>
                      <a:pt x="2772" y="3039"/>
                      <a:pt x="2775" y="3212"/>
                    </a:cubicBezTo>
                    <a:lnTo>
                      <a:pt x="2487" y="321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A51E9E93-848E-490D-BA82-27BB048C6462}"/>
                </a:ext>
              </a:extLst>
            </p:cNvPr>
            <p:cNvSpPr txBox="1"/>
            <p:nvPr/>
          </p:nvSpPr>
          <p:spPr>
            <a:xfrm>
              <a:off x="11326587" y="6020715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Low carbon heat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7427C1C-41BA-441A-BD7F-828AC52BBF87}"/>
              </a:ext>
            </a:extLst>
          </p:cNvPr>
          <p:cNvGrpSpPr/>
          <p:nvPr/>
        </p:nvGrpSpPr>
        <p:grpSpPr>
          <a:xfrm>
            <a:off x="6396460" y="1353355"/>
            <a:ext cx="1847441" cy="892804"/>
            <a:chOff x="6396460" y="1545103"/>
            <a:chExt cx="1847441" cy="892804"/>
          </a:xfrm>
        </p:grpSpPr>
        <p:grpSp>
          <p:nvGrpSpPr>
            <p:cNvPr id="16" name="Icon 10">
              <a:extLst>
                <a:ext uri="{FF2B5EF4-FFF2-40B4-BE49-F238E27FC236}">
                  <a16:creationId xmlns:a16="http://schemas.microsoft.com/office/drawing/2014/main" id="{79FD2F64-67E1-42AA-800B-94FF2B5E2B9F}"/>
                </a:ext>
              </a:extLst>
            </p:cNvPr>
            <p:cNvGrpSpPr/>
            <p:nvPr/>
          </p:nvGrpSpPr>
          <p:grpSpPr>
            <a:xfrm>
              <a:off x="6924305" y="1545103"/>
              <a:ext cx="791751" cy="790163"/>
              <a:chOff x="10517323" y="1955568"/>
              <a:chExt cx="791751" cy="790163"/>
            </a:xfrm>
          </p:grpSpPr>
          <p:sp>
            <p:nvSpPr>
              <p:cNvPr id="17" name="Rectangle 116">
                <a:extLst>
                  <a:ext uri="{FF2B5EF4-FFF2-40B4-BE49-F238E27FC236}">
                    <a16:creationId xmlns:a16="http://schemas.microsoft.com/office/drawing/2014/main" id="{E3B6196B-6575-4BAB-A280-0315F94E9E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17323" y="1955568"/>
                <a:ext cx="791751" cy="7901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/>
              </a:p>
            </p:txBody>
          </p:sp>
          <p:sp>
            <p:nvSpPr>
              <p:cNvPr id="18" name="Freeform 117">
                <a:extLst>
                  <a:ext uri="{FF2B5EF4-FFF2-40B4-BE49-F238E27FC236}">
                    <a16:creationId xmlns:a16="http://schemas.microsoft.com/office/drawing/2014/main" id="{7B56FD7B-C4D6-4EB0-BF0C-F22B4AFFD3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26804" y="2172942"/>
                <a:ext cx="572790" cy="353828"/>
              </a:xfrm>
              <a:custGeom>
                <a:avLst/>
                <a:gdLst>
                  <a:gd name="T0" fmla="*/ 3552 w 3552"/>
                  <a:gd name="T1" fmla="*/ 2045 h 2203"/>
                  <a:gd name="T2" fmla="*/ 2834 w 3552"/>
                  <a:gd name="T3" fmla="*/ 2045 h 2203"/>
                  <a:gd name="T4" fmla="*/ 2116 w 3552"/>
                  <a:gd name="T5" fmla="*/ 2045 h 2203"/>
                  <a:gd name="T6" fmla="*/ 2475 w 3552"/>
                  <a:gd name="T7" fmla="*/ 2051 h 2203"/>
                  <a:gd name="T8" fmla="*/ 3193 w 3552"/>
                  <a:gd name="T9" fmla="*/ 2051 h 2203"/>
                  <a:gd name="T10" fmla="*/ 2295 w 3552"/>
                  <a:gd name="T11" fmla="*/ 394 h 2203"/>
                  <a:gd name="T12" fmla="*/ 2147 w 3552"/>
                  <a:gd name="T13" fmla="*/ 79 h 2203"/>
                  <a:gd name="T14" fmla="*/ 652 w 3552"/>
                  <a:gd name="T15" fmla="*/ 10 h 2203"/>
                  <a:gd name="T16" fmla="*/ 1021 w 3552"/>
                  <a:gd name="T17" fmla="*/ 610 h 2203"/>
                  <a:gd name="T18" fmla="*/ 73 w 3552"/>
                  <a:gd name="T19" fmla="*/ 612 h 2203"/>
                  <a:gd name="T20" fmla="*/ 297 w 3552"/>
                  <a:gd name="T21" fmla="*/ 992 h 2203"/>
                  <a:gd name="T22" fmla="*/ 2295 w 3552"/>
                  <a:gd name="T23" fmla="*/ 394 h 2203"/>
                  <a:gd name="T24" fmla="*/ 1965 w 3552"/>
                  <a:gd name="T25" fmla="*/ 1938 h 2203"/>
                  <a:gd name="T26" fmla="*/ 1814 w 3552"/>
                  <a:gd name="T27" fmla="*/ 2203 h 2203"/>
                  <a:gd name="T28" fmla="*/ 1663 w 3552"/>
                  <a:gd name="T29" fmla="*/ 2089 h 2203"/>
                  <a:gd name="T30" fmla="*/ 1209 w 3552"/>
                  <a:gd name="T31" fmla="*/ 2203 h 2203"/>
                  <a:gd name="T32" fmla="*/ 1058 w 3552"/>
                  <a:gd name="T33" fmla="*/ 2089 h 2203"/>
                  <a:gd name="T34" fmla="*/ 907 w 3552"/>
                  <a:gd name="T35" fmla="*/ 1938 h 2203"/>
                  <a:gd name="T36" fmla="*/ 1058 w 3552"/>
                  <a:gd name="T37" fmla="*/ 1145 h 2203"/>
                  <a:gd name="T38" fmla="*/ 1814 w 3552"/>
                  <a:gd name="T39" fmla="*/ 1447 h 2203"/>
                  <a:gd name="T40" fmla="*/ 1694 w 3552"/>
                  <a:gd name="T41" fmla="*/ 993 h 2203"/>
                  <a:gd name="T42" fmla="*/ 1700 w 3552"/>
                  <a:gd name="T43" fmla="*/ 842 h 2203"/>
                  <a:gd name="T44" fmla="*/ 1965 w 3552"/>
                  <a:gd name="T45" fmla="*/ 1069 h 2203"/>
                  <a:gd name="T46" fmla="*/ 1170 w 3552"/>
                  <a:gd name="T47" fmla="*/ 1709 h 2203"/>
                  <a:gd name="T48" fmla="*/ 1173 w 3552"/>
                  <a:gd name="T49" fmla="*/ 1940 h 2203"/>
                  <a:gd name="T50" fmla="*/ 1816 w 3552"/>
                  <a:gd name="T51" fmla="*/ 1823 h 2203"/>
                  <a:gd name="T52" fmla="*/ 1585 w 3552"/>
                  <a:gd name="T53" fmla="*/ 1826 h 2203"/>
                  <a:gd name="T54" fmla="*/ 1816 w 3552"/>
                  <a:gd name="T55" fmla="*/ 1823 h 2203"/>
                  <a:gd name="T56" fmla="*/ 2740 w 3552"/>
                  <a:gd name="T57" fmla="*/ 653 h 2203"/>
                  <a:gd name="T58" fmla="*/ 2929 w 3552"/>
                  <a:gd name="T59" fmla="*/ 465 h 2203"/>
                  <a:gd name="T60" fmla="*/ 3212 w 3552"/>
                  <a:gd name="T61" fmla="*/ 653 h 2203"/>
                  <a:gd name="T62" fmla="*/ 3326 w 3552"/>
                  <a:gd name="T63" fmla="*/ 1295 h 2203"/>
                  <a:gd name="T64" fmla="*/ 3214 w 3552"/>
                  <a:gd name="T65" fmla="*/ 1931 h 2203"/>
                  <a:gd name="T66" fmla="*/ 3118 w 3552"/>
                  <a:gd name="T67" fmla="*/ 1894 h 2203"/>
                  <a:gd name="T68" fmla="*/ 2550 w 3552"/>
                  <a:gd name="T69" fmla="*/ 1894 h 2203"/>
                  <a:gd name="T70" fmla="*/ 2454 w 3552"/>
                  <a:gd name="T71" fmla="*/ 1931 h 2203"/>
                  <a:gd name="T72" fmla="*/ 2343 w 3552"/>
                  <a:gd name="T73" fmla="*/ 1295 h 2203"/>
                  <a:gd name="T74" fmla="*/ 2456 w 3552"/>
                  <a:gd name="T75" fmla="*/ 653 h 2203"/>
                  <a:gd name="T76" fmla="*/ 2834 w 3552"/>
                  <a:gd name="T77" fmla="*/ 1106 h 2203"/>
                  <a:gd name="T78" fmla="*/ 2834 w 3552"/>
                  <a:gd name="T79" fmla="*/ 1106 h 2203"/>
                  <a:gd name="T80" fmla="*/ 3061 w 3552"/>
                  <a:gd name="T81" fmla="*/ 804 h 2203"/>
                  <a:gd name="T82" fmla="*/ 2608 w 3552"/>
                  <a:gd name="T83" fmla="*/ 1194 h 2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52" h="2203">
                    <a:moveTo>
                      <a:pt x="3552" y="1894"/>
                    </a:moveTo>
                    <a:cubicBezTo>
                      <a:pt x="3552" y="1961"/>
                      <a:pt x="3552" y="2003"/>
                      <a:pt x="3552" y="2045"/>
                    </a:cubicBezTo>
                    <a:cubicBezTo>
                      <a:pt x="3430" y="2045"/>
                      <a:pt x="3372" y="2203"/>
                      <a:pt x="3193" y="2203"/>
                    </a:cubicBezTo>
                    <a:cubicBezTo>
                      <a:pt x="3015" y="2203"/>
                      <a:pt x="2957" y="2045"/>
                      <a:pt x="2834" y="2045"/>
                    </a:cubicBezTo>
                    <a:cubicBezTo>
                      <a:pt x="2712" y="2045"/>
                      <a:pt x="2653" y="2203"/>
                      <a:pt x="2475" y="2203"/>
                    </a:cubicBezTo>
                    <a:cubicBezTo>
                      <a:pt x="2297" y="2203"/>
                      <a:pt x="2238" y="2045"/>
                      <a:pt x="2116" y="2045"/>
                    </a:cubicBezTo>
                    <a:cubicBezTo>
                      <a:pt x="2116" y="2045"/>
                      <a:pt x="2116" y="1986"/>
                      <a:pt x="2116" y="1894"/>
                    </a:cubicBezTo>
                    <a:cubicBezTo>
                      <a:pt x="2291" y="1894"/>
                      <a:pt x="2355" y="2051"/>
                      <a:pt x="2475" y="2051"/>
                    </a:cubicBezTo>
                    <a:cubicBezTo>
                      <a:pt x="2595" y="2051"/>
                      <a:pt x="2658" y="1894"/>
                      <a:pt x="2834" y="1894"/>
                    </a:cubicBezTo>
                    <a:cubicBezTo>
                      <a:pt x="3010" y="1894"/>
                      <a:pt x="3073" y="2051"/>
                      <a:pt x="3193" y="2051"/>
                    </a:cubicBezTo>
                    <a:cubicBezTo>
                      <a:pt x="3313" y="2051"/>
                      <a:pt x="3376" y="1894"/>
                      <a:pt x="3552" y="1894"/>
                    </a:cubicBezTo>
                    <a:close/>
                    <a:moveTo>
                      <a:pt x="2295" y="394"/>
                    </a:moveTo>
                    <a:cubicBezTo>
                      <a:pt x="2382" y="353"/>
                      <a:pt x="2554" y="205"/>
                      <a:pt x="2506" y="102"/>
                    </a:cubicBezTo>
                    <a:cubicBezTo>
                      <a:pt x="2457" y="0"/>
                      <a:pt x="2234" y="38"/>
                      <a:pt x="2147" y="79"/>
                    </a:cubicBezTo>
                    <a:cubicBezTo>
                      <a:pt x="1683" y="298"/>
                      <a:pt x="1683" y="298"/>
                      <a:pt x="1683" y="298"/>
                    </a:cubicBezTo>
                    <a:cubicBezTo>
                      <a:pt x="652" y="10"/>
                      <a:pt x="652" y="10"/>
                      <a:pt x="652" y="10"/>
                    </a:cubicBezTo>
                    <a:cubicBezTo>
                      <a:pt x="558" y="131"/>
                      <a:pt x="558" y="131"/>
                      <a:pt x="558" y="131"/>
                    </a:cubicBezTo>
                    <a:cubicBezTo>
                      <a:pt x="1021" y="610"/>
                      <a:pt x="1021" y="610"/>
                      <a:pt x="1021" y="610"/>
                    </a:cubicBezTo>
                    <a:cubicBezTo>
                      <a:pt x="594" y="812"/>
                      <a:pt x="594" y="812"/>
                      <a:pt x="594" y="812"/>
                    </a:cubicBezTo>
                    <a:cubicBezTo>
                      <a:pt x="73" y="612"/>
                      <a:pt x="73" y="612"/>
                      <a:pt x="73" y="612"/>
                    </a:cubicBezTo>
                    <a:cubicBezTo>
                      <a:pt x="0" y="703"/>
                      <a:pt x="0" y="703"/>
                      <a:pt x="0" y="703"/>
                    </a:cubicBezTo>
                    <a:cubicBezTo>
                      <a:pt x="297" y="992"/>
                      <a:pt x="297" y="992"/>
                      <a:pt x="297" y="992"/>
                    </a:cubicBezTo>
                    <a:cubicBezTo>
                      <a:pt x="413" y="1105"/>
                      <a:pt x="592" y="1197"/>
                      <a:pt x="707" y="1143"/>
                    </a:cubicBezTo>
                    <a:cubicBezTo>
                      <a:pt x="807" y="1096"/>
                      <a:pt x="2295" y="394"/>
                      <a:pt x="2295" y="394"/>
                    </a:cubicBezTo>
                    <a:close/>
                    <a:moveTo>
                      <a:pt x="1965" y="1069"/>
                    </a:moveTo>
                    <a:cubicBezTo>
                      <a:pt x="1965" y="1938"/>
                      <a:pt x="1965" y="1938"/>
                      <a:pt x="1965" y="1938"/>
                    </a:cubicBezTo>
                    <a:cubicBezTo>
                      <a:pt x="1965" y="2021"/>
                      <a:pt x="1897" y="2089"/>
                      <a:pt x="1814" y="2089"/>
                    </a:cubicBezTo>
                    <a:cubicBezTo>
                      <a:pt x="1814" y="2203"/>
                      <a:pt x="1814" y="2203"/>
                      <a:pt x="1814" y="2203"/>
                    </a:cubicBezTo>
                    <a:cubicBezTo>
                      <a:pt x="1663" y="2203"/>
                      <a:pt x="1663" y="2203"/>
                      <a:pt x="1663" y="2203"/>
                    </a:cubicBezTo>
                    <a:cubicBezTo>
                      <a:pt x="1663" y="2089"/>
                      <a:pt x="1663" y="2089"/>
                      <a:pt x="1663" y="2089"/>
                    </a:cubicBezTo>
                    <a:cubicBezTo>
                      <a:pt x="1209" y="2089"/>
                      <a:pt x="1209" y="2089"/>
                      <a:pt x="1209" y="2089"/>
                    </a:cubicBezTo>
                    <a:cubicBezTo>
                      <a:pt x="1209" y="2203"/>
                      <a:pt x="1209" y="2203"/>
                      <a:pt x="1209" y="2203"/>
                    </a:cubicBezTo>
                    <a:cubicBezTo>
                      <a:pt x="1058" y="2203"/>
                      <a:pt x="1058" y="2203"/>
                      <a:pt x="1058" y="2203"/>
                    </a:cubicBezTo>
                    <a:cubicBezTo>
                      <a:pt x="1058" y="2089"/>
                      <a:pt x="1058" y="2089"/>
                      <a:pt x="1058" y="2089"/>
                    </a:cubicBezTo>
                    <a:cubicBezTo>
                      <a:pt x="1058" y="2089"/>
                      <a:pt x="1058" y="2089"/>
                      <a:pt x="1058" y="2089"/>
                    </a:cubicBezTo>
                    <a:cubicBezTo>
                      <a:pt x="974" y="2089"/>
                      <a:pt x="907" y="2021"/>
                      <a:pt x="907" y="1938"/>
                    </a:cubicBezTo>
                    <a:cubicBezTo>
                      <a:pt x="907" y="1216"/>
                      <a:pt x="907" y="1216"/>
                      <a:pt x="907" y="1216"/>
                    </a:cubicBezTo>
                    <a:cubicBezTo>
                      <a:pt x="1058" y="1145"/>
                      <a:pt x="1058" y="1145"/>
                      <a:pt x="1058" y="1145"/>
                    </a:cubicBezTo>
                    <a:cubicBezTo>
                      <a:pt x="1058" y="1447"/>
                      <a:pt x="1058" y="1447"/>
                      <a:pt x="1058" y="1447"/>
                    </a:cubicBezTo>
                    <a:cubicBezTo>
                      <a:pt x="1814" y="1447"/>
                      <a:pt x="1814" y="1447"/>
                      <a:pt x="1814" y="1447"/>
                    </a:cubicBezTo>
                    <a:cubicBezTo>
                      <a:pt x="1814" y="1113"/>
                      <a:pt x="1814" y="1113"/>
                      <a:pt x="1814" y="1113"/>
                    </a:cubicBezTo>
                    <a:cubicBezTo>
                      <a:pt x="1814" y="1047"/>
                      <a:pt x="1760" y="993"/>
                      <a:pt x="1694" y="993"/>
                    </a:cubicBezTo>
                    <a:cubicBezTo>
                      <a:pt x="1379" y="993"/>
                      <a:pt x="1379" y="993"/>
                      <a:pt x="1379" y="993"/>
                    </a:cubicBezTo>
                    <a:cubicBezTo>
                      <a:pt x="1700" y="842"/>
                      <a:pt x="1700" y="842"/>
                      <a:pt x="1700" y="842"/>
                    </a:cubicBezTo>
                    <a:cubicBezTo>
                      <a:pt x="1738" y="842"/>
                      <a:pt x="1738" y="842"/>
                      <a:pt x="1738" y="842"/>
                    </a:cubicBezTo>
                    <a:cubicBezTo>
                      <a:pt x="1863" y="842"/>
                      <a:pt x="1965" y="943"/>
                      <a:pt x="1965" y="1069"/>
                    </a:cubicBezTo>
                    <a:close/>
                    <a:moveTo>
                      <a:pt x="1287" y="1823"/>
                    </a:moveTo>
                    <a:cubicBezTo>
                      <a:pt x="1286" y="1759"/>
                      <a:pt x="1233" y="1709"/>
                      <a:pt x="1170" y="1709"/>
                    </a:cubicBezTo>
                    <a:cubicBezTo>
                      <a:pt x="1106" y="1710"/>
                      <a:pt x="1055" y="1762"/>
                      <a:pt x="1056" y="1826"/>
                    </a:cubicBezTo>
                    <a:cubicBezTo>
                      <a:pt x="1057" y="1890"/>
                      <a:pt x="1109" y="1941"/>
                      <a:pt x="1173" y="1940"/>
                    </a:cubicBezTo>
                    <a:cubicBezTo>
                      <a:pt x="1236" y="1939"/>
                      <a:pt x="1287" y="1887"/>
                      <a:pt x="1287" y="1823"/>
                    </a:cubicBezTo>
                    <a:close/>
                    <a:moveTo>
                      <a:pt x="1816" y="1823"/>
                    </a:moveTo>
                    <a:cubicBezTo>
                      <a:pt x="1815" y="1759"/>
                      <a:pt x="1763" y="1709"/>
                      <a:pt x="1699" y="1709"/>
                    </a:cubicBezTo>
                    <a:cubicBezTo>
                      <a:pt x="1635" y="1710"/>
                      <a:pt x="1584" y="1762"/>
                      <a:pt x="1585" y="1826"/>
                    </a:cubicBezTo>
                    <a:cubicBezTo>
                      <a:pt x="1586" y="1890"/>
                      <a:pt x="1638" y="1941"/>
                      <a:pt x="1702" y="1940"/>
                    </a:cubicBezTo>
                    <a:cubicBezTo>
                      <a:pt x="1766" y="1939"/>
                      <a:pt x="1816" y="1887"/>
                      <a:pt x="1816" y="1823"/>
                    </a:cubicBezTo>
                    <a:close/>
                    <a:moveTo>
                      <a:pt x="2456" y="653"/>
                    </a:moveTo>
                    <a:cubicBezTo>
                      <a:pt x="2740" y="653"/>
                      <a:pt x="2740" y="653"/>
                      <a:pt x="2740" y="653"/>
                    </a:cubicBezTo>
                    <a:cubicBezTo>
                      <a:pt x="2740" y="465"/>
                      <a:pt x="2740" y="465"/>
                      <a:pt x="2740" y="465"/>
                    </a:cubicBezTo>
                    <a:cubicBezTo>
                      <a:pt x="2929" y="465"/>
                      <a:pt x="2929" y="465"/>
                      <a:pt x="2929" y="465"/>
                    </a:cubicBezTo>
                    <a:cubicBezTo>
                      <a:pt x="2929" y="653"/>
                      <a:pt x="2929" y="653"/>
                      <a:pt x="2929" y="653"/>
                    </a:cubicBezTo>
                    <a:cubicBezTo>
                      <a:pt x="3212" y="653"/>
                      <a:pt x="3212" y="653"/>
                      <a:pt x="3212" y="653"/>
                    </a:cubicBezTo>
                    <a:cubicBezTo>
                      <a:pt x="3212" y="1252"/>
                      <a:pt x="3212" y="1252"/>
                      <a:pt x="3212" y="1252"/>
                    </a:cubicBezTo>
                    <a:cubicBezTo>
                      <a:pt x="3247" y="1265"/>
                      <a:pt x="3285" y="1280"/>
                      <a:pt x="3326" y="1295"/>
                    </a:cubicBezTo>
                    <a:cubicBezTo>
                      <a:pt x="3381" y="1317"/>
                      <a:pt x="3391" y="1367"/>
                      <a:pt x="3374" y="1420"/>
                    </a:cubicBezTo>
                    <a:cubicBezTo>
                      <a:pt x="3359" y="1468"/>
                      <a:pt x="3233" y="1873"/>
                      <a:pt x="3214" y="1931"/>
                    </a:cubicBezTo>
                    <a:cubicBezTo>
                      <a:pt x="3206" y="1935"/>
                      <a:pt x="3199" y="1938"/>
                      <a:pt x="3193" y="1938"/>
                    </a:cubicBezTo>
                    <a:cubicBezTo>
                      <a:pt x="3177" y="1938"/>
                      <a:pt x="3148" y="1916"/>
                      <a:pt x="3118" y="1894"/>
                    </a:cubicBezTo>
                    <a:cubicBezTo>
                      <a:pt x="3055" y="1846"/>
                      <a:pt x="2969" y="1781"/>
                      <a:pt x="2834" y="1781"/>
                    </a:cubicBezTo>
                    <a:cubicBezTo>
                      <a:pt x="2700" y="1781"/>
                      <a:pt x="2613" y="1846"/>
                      <a:pt x="2550" y="1894"/>
                    </a:cubicBezTo>
                    <a:cubicBezTo>
                      <a:pt x="2520" y="1916"/>
                      <a:pt x="2491" y="1938"/>
                      <a:pt x="2475" y="1938"/>
                    </a:cubicBezTo>
                    <a:cubicBezTo>
                      <a:pt x="2470" y="1938"/>
                      <a:pt x="2462" y="1935"/>
                      <a:pt x="2454" y="1931"/>
                    </a:cubicBezTo>
                    <a:cubicBezTo>
                      <a:pt x="2436" y="1873"/>
                      <a:pt x="2310" y="1468"/>
                      <a:pt x="2294" y="1420"/>
                    </a:cubicBezTo>
                    <a:cubicBezTo>
                      <a:pt x="2278" y="1367"/>
                      <a:pt x="2287" y="1317"/>
                      <a:pt x="2343" y="1295"/>
                    </a:cubicBezTo>
                    <a:cubicBezTo>
                      <a:pt x="2384" y="1280"/>
                      <a:pt x="2422" y="1265"/>
                      <a:pt x="2456" y="1252"/>
                    </a:cubicBezTo>
                    <a:lnTo>
                      <a:pt x="2456" y="653"/>
                    </a:lnTo>
                    <a:close/>
                    <a:moveTo>
                      <a:pt x="2608" y="1194"/>
                    </a:moveTo>
                    <a:cubicBezTo>
                      <a:pt x="2834" y="1107"/>
                      <a:pt x="2834" y="1106"/>
                      <a:pt x="2834" y="1106"/>
                    </a:cubicBezTo>
                    <a:cubicBezTo>
                      <a:pt x="2834" y="1107"/>
                      <a:pt x="2834" y="1107"/>
                      <a:pt x="2834" y="1107"/>
                    </a:cubicBezTo>
                    <a:cubicBezTo>
                      <a:pt x="2834" y="1106"/>
                      <a:pt x="2834" y="1106"/>
                      <a:pt x="2834" y="1106"/>
                    </a:cubicBezTo>
                    <a:cubicBezTo>
                      <a:pt x="2834" y="1106"/>
                      <a:pt x="2835" y="1107"/>
                      <a:pt x="3061" y="1194"/>
                    </a:cubicBezTo>
                    <a:cubicBezTo>
                      <a:pt x="3061" y="804"/>
                      <a:pt x="3061" y="804"/>
                      <a:pt x="3061" y="804"/>
                    </a:cubicBezTo>
                    <a:cubicBezTo>
                      <a:pt x="2608" y="804"/>
                      <a:pt x="2608" y="804"/>
                      <a:pt x="2608" y="804"/>
                    </a:cubicBezTo>
                    <a:lnTo>
                      <a:pt x="2608" y="119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/>
              </a:p>
            </p:txBody>
          </p:sp>
        </p:grp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19B5140-0754-4462-838A-110E773379D3}"/>
                </a:ext>
              </a:extLst>
            </p:cNvPr>
            <p:cNvSpPr txBox="1"/>
            <p:nvPr/>
          </p:nvSpPr>
          <p:spPr>
            <a:xfrm>
              <a:off x="6396460" y="2159464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Freight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5F144DC0-7E64-4EC7-A223-BE4D68282C19}"/>
              </a:ext>
            </a:extLst>
          </p:cNvPr>
          <p:cNvGrpSpPr/>
          <p:nvPr/>
        </p:nvGrpSpPr>
        <p:grpSpPr>
          <a:xfrm>
            <a:off x="6396460" y="5006146"/>
            <a:ext cx="1847441" cy="892804"/>
            <a:chOff x="8460331" y="5406354"/>
            <a:chExt cx="1847441" cy="892804"/>
          </a:xfrm>
        </p:grpSpPr>
        <p:grpSp>
          <p:nvGrpSpPr>
            <p:cNvPr id="56" name="Icon 18">
              <a:extLst>
                <a:ext uri="{FF2B5EF4-FFF2-40B4-BE49-F238E27FC236}">
                  <a16:creationId xmlns:a16="http://schemas.microsoft.com/office/drawing/2014/main" id="{37F60045-8271-4AB3-8E46-D4ECE1D2765F}"/>
                </a:ext>
              </a:extLst>
            </p:cNvPr>
            <p:cNvGrpSpPr/>
            <p:nvPr/>
          </p:nvGrpSpPr>
          <p:grpSpPr>
            <a:xfrm>
              <a:off x="8988176" y="5406354"/>
              <a:ext cx="791750" cy="790163"/>
              <a:chOff x="8311671" y="2989493"/>
              <a:chExt cx="791750" cy="790163"/>
            </a:xfrm>
          </p:grpSpPr>
          <p:sp>
            <p:nvSpPr>
              <p:cNvPr id="57" name="Rectangle 91">
                <a:extLst>
                  <a:ext uri="{FF2B5EF4-FFF2-40B4-BE49-F238E27FC236}">
                    <a16:creationId xmlns:a16="http://schemas.microsoft.com/office/drawing/2014/main" id="{9EE0B25F-E827-4541-A490-8FC74516DF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11671" y="2989493"/>
                <a:ext cx="791750" cy="7901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/>
              </a:p>
            </p:txBody>
          </p:sp>
          <p:sp>
            <p:nvSpPr>
              <p:cNvPr id="58" name="Freeform 92">
                <a:extLst>
                  <a:ext uri="{FF2B5EF4-FFF2-40B4-BE49-F238E27FC236}">
                    <a16:creationId xmlns:a16="http://schemas.microsoft.com/office/drawing/2014/main" id="{FF44DB9D-A69C-4B78-BFDE-DE899E5461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57645" y="3159267"/>
                <a:ext cx="502975" cy="412535"/>
              </a:xfrm>
              <a:custGeom>
                <a:avLst/>
                <a:gdLst>
                  <a:gd name="T0" fmla="*/ 929 w 3124"/>
                  <a:gd name="T1" fmla="*/ 923 h 2563"/>
                  <a:gd name="T2" fmla="*/ 826 w 3124"/>
                  <a:gd name="T3" fmla="*/ 606 h 2563"/>
                  <a:gd name="T4" fmla="*/ 1143 w 3124"/>
                  <a:gd name="T5" fmla="*/ 709 h 2563"/>
                  <a:gd name="T6" fmla="*/ 1179 w 3124"/>
                  <a:gd name="T7" fmla="*/ 878 h 2563"/>
                  <a:gd name="T8" fmla="*/ 1366 w 3124"/>
                  <a:gd name="T9" fmla="*/ 1052 h 2563"/>
                  <a:gd name="T10" fmla="*/ 1379 w 3124"/>
                  <a:gd name="T11" fmla="*/ 673 h 2563"/>
                  <a:gd name="T12" fmla="*/ 1209 w 3124"/>
                  <a:gd name="T13" fmla="*/ 446 h 2563"/>
                  <a:gd name="T14" fmla="*/ 1436 w 3124"/>
                  <a:gd name="T15" fmla="*/ 0 h 2563"/>
                  <a:gd name="T16" fmla="*/ 1663 w 3124"/>
                  <a:gd name="T17" fmla="*/ 446 h 2563"/>
                  <a:gd name="T18" fmla="*/ 1493 w 3124"/>
                  <a:gd name="T19" fmla="*/ 673 h 2563"/>
                  <a:gd name="T20" fmla="*/ 1506 w 3124"/>
                  <a:gd name="T21" fmla="*/ 1052 h 2563"/>
                  <a:gd name="T22" fmla="*/ 1693 w 3124"/>
                  <a:gd name="T23" fmla="*/ 878 h 2563"/>
                  <a:gd name="T24" fmla="*/ 1729 w 3124"/>
                  <a:gd name="T25" fmla="*/ 709 h 2563"/>
                  <a:gd name="T26" fmla="*/ 2046 w 3124"/>
                  <a:gd name="T27" fmla="*/ 606 h 2563"/>
                  <a:gd name="T28" fmla="*/ 1943 w 3124"/>
                  <a:gd name="T29" fmla="*/ 923 h 2563"/>
                  <a:gd name="T30" fmla="*/ 1773 w 3124"/>
                  <a:gd name="T31" fmla="*/ 959 h 2563"/>
                  <a:gd name="T32" fmla="*/ 1583 w 3124"/>
                  <a:gd name="T33" fmla="*/ 1163 h 2563"/>
                  <a:gd name="T34" fmla="*/ 1307 w 3124"/>
                  <a:gd name="T35" fmla="*/ 1182 h 2563"/>
                  <a:gd name="T36" fmla="*/ 1099 w 3124"/>
                  <a:gd name="T37" fmla="*/ 959 h 2563"/>
                  <a:gd name="T38" fmla="*/ 929 w 3124"/>
                  <a:gd name="T39" fmla="*/ 923 h 2563"/>
                  <a:gd name="T40" fmla="*/ 2733 w 3124"/>
                  <a:gd name="T41" fmla="*/ 1568 h 2563"/>
                  <a:gd name="T42" fmla="*/ 2421 w 3124"/>
                  <a:gd name="T43" fmla="*/ 2420 h 2563"/>
                  <a:gd name="T44" fmla="*/ 2812 w 3124"/>
                  <a:gd name="T45" fmla="*/ 2563 h 2563"/>
                  <a:gd name="T46" fmla="*/ 3124 w 3124"/>
                  <a:gd name="T47" fmla="*/ 1711 h 2563"/>
                  <a:gd name="T48" fmla="*/ 2733 w 3124"/>
                  <a:gd name="T49" fmla="*/ 1568 h 2563"/>
                  <a:gd name="T50" fmla="*/ 1999 w 3124"/>
                  <a:gd name="T51" fmla="*/ 1285 h 2563"/>
                  <a:gd name="T52" fmla="*/ 854 w 3124"/>
                  <a:gd name="T53" fmla="*/ 1365 h 2563"/>
                  <a:gd name="T54" fmla="*/ 1020 w 3124"/>
                  <a:gd name="T55" fmla="*/ 1588 h 2563"/>
                  <a:gd name="T56" fmla="*/ 1701 w 3124"/>
                  <a:gd name="T57" fmla="*/ 1635 h 2563"/>
                  <a:gd name="T58" fmla="*/ 1587 w 3124"/>
                  <a:gd name="T59" fmla="*/ 1852 h 2563"/>
                  <a:gd name="T60" fmla="*/ 907 w 3124"/>
                  <a:gd name="T61" fmla="*/ 1852 h 2563"/>
                  <a:gd name="T62" fmla="*/ 151 w 3124"/>
                  <a:gd name="T63" fmla="*/ 1626 h 2563"/>
                  <a:gd name="T64" fmla="*/ 0 w 3124"/>
                  <a:gd name="T65" fmla="*/ 1739 h 2563"/>
                  <a:gd name="T66" fmla="*/ 756 w 3124"/>
                  <a:gd name="T67" fmla="*/ 2104 h 2563"/>
                  <a:gd name="T68" fmla="*/ 2021 w 3124"/>
                  <a:gd name="T69" fmla="*/ 2193 h 2563"/>
                  <a:gd name="T70" fmla="*/ 2305 w 3124"/>
                  <a:gd name="T71" fmla="*/ 2297 h 2563"/>
                  <a:gd name="T72" fmla="*/ 2565 w 3124"/>
                  <a:gd name="T73" fmla="*/ 1587 h 2563"/>
                  <a:gd name="T74" fmla="*/ 1999 w 3124"/>
                  <a:gd name="T75" fmla="*/ 1285 h 25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124" h="2563">
                    <a:moveTo>
                      <a:pt x="929" y="923"/>
                    </a:moveTo>
                    <a:cubicBezTo>
                      <a:pt x="809" y="802"/>
                      <a:pt x="826" y="606"/>
                      <a:pt x="826" y="606"/>
                    </a:cubicBezTo>
                    <a:cubicBezTo>
                      <a:pt x="826" y="606"/>
                      <a:pt x="1023" y="588"/>
                      <a:pt x="1143" y="709"/>
                    </a:cubicBezTo>
                    <a:cubicBezTo>
                      <a:pt x="1190" y="755"/>
                      <a:pt x="1202" y="823"/>
                      <a:pt x="1179" y="878"/>
                    </a:cubicBezTo>
                    <a:cubicBezTo>
                      <a:pt x="1366" y="1052"/>
                      <a:pt x="1366" y="1052"/>
                      <a:pt x="1366" y="1052"/>
                    </a:cubicBezTo>
                    <a:cubicBezTo>
                      <a:pt x="1379" y="673"/>
                      <a:pt x="1379" y="673"/>
                      <a:pt x="1379" y="673"/>
                    </a:cubicBezTo>
                    <a:cubicBezTo>
                      <a:pt x="1281" y="647"/>
                      <a:pt x="1209" y="555"/>
                      <a:pt x="1209" y="446"/>
                    </a:cubicBezTo>
                    <a:cubicBezTo>
                      <a:pt x="1209" y="190"/>
                      <a:pt x="1436" y="0"/>
                      <a:pt x="1436" y="0"/>
                    </a:cubicBezTo>
                    <a:cubicBezTo>
                      <a:pt x="1436" y="0"/>
                      <a:pt x="1663" y="190"/>
                      <a:pt x="1663" y="446"/>
                    </a:cubicBezTo>
                    <a:cubicBezTo>
                      <a:pt x="1663" y="555"/>
                      <a:pt x="1591" y="647"/>
                      <a:pt x="1493" y="673"/>
                    </a:cubicBezTo>
                    <a:cubicBezTo>
                      <a:pt x="1506" y="1052"/>
                      <a:pt x="1506" y="1052"/>
                      <a:pt x="1506" y="1052"/>
                    </a:cubicBezTo>
                    <a:cubicBezTo>
                      <a:pt x="1693" y="878"/>
                      <a:pt x="1693" y="878"/>
                      <a:pt x="1693" y="878"/>
                    </a:cubicBezTo>
                    <a:cubicBezTo>
                      <a:pt x="1670" y="823"/>
                      <a:pt x="1682" y="755"/>
                      <a:pt x="1729" y="709"/>
                    </a:cubicBezTo>
                    <a:cubicBezTo>
                      <a:pt x="1849" y="588"/>
                      <a:pt x="2046" y="606"/>
                      <a:pt x="2046" y="606"/>
                    </a:cubicBezTo>
                    <a:cubicBezTo>
                      <a:pt x="2046" y="606"/>
                      <a:pt x="2063" y="802"/>
                      <a:pt x="1943" y="923"/>
                    </a:cubicBezTo>
                    <a:cubicBezTo>
                      <a:pt x="1896" y="969"/>
                      <a:pt x="1829" y="981"/>
                      <a:pt x="1773" y="959"/>
                    </a:cubicBezTo>
                    <a:cubicBezTo>
                      <a:pt x="1583" y="1163"/>
                      <a:pt x="1583" y="1163"/>
                      <a:pt x="1583" y="1163"/>
                    </a:cubicBezTo>
                    <a:cubicBezTo>
                      <a:pt x="1307" y="1182"/>
                      <a:pt x="1307" y="1182"/>
                      <a:pt x="1307" y="1182"/>
                    </a:cubicBezTo>
                    <a:cubicBezTo>
                      <a:pt x="1099" y="959"/>
                      <a:pt x="1099" y="959"/>
                      <a:pt x="1099" y="959"/>
                    </a:cubicBezTo>
                    <a:cubicBezTo>
                      <a:pt x="1043" y="981"/>
                      <a:pt x="976" y="969"/>
                      <a:pt x="929" y="923"/>
                    </a:cubicBezTo>
                    <a:close/>
                    <a:moveTo>
                      <a:pt x="2733" y="1568"/>
                    </a:moveTo>
                    <a:cubicBezTo>
                      <a:pt x="2421" y="2420"/>
                      <a:pt x="2421" y="2420"/>
                      <a:pt x="2421" y="2420"/>
                    </a:cubicBezTo>
                    <a:cubicBezTo>
                      <a:pt x="2812" y="2563"/>
                      <a:pt x="2812" y="2563"/>
                      <a:pt x="2812" y="2563"/>
                    </a:cubicBezTo>
                    <a:cubicBezTo>
                      <a:pt x="3124" y="1711"/>
                      <a:pt x="3124" y="1711"/>
                      <a:pt x="3124" y="1711"/>
                    </a:cubicBezTo>
                    <a:lnTo>
                      <a:pt x="2733" y="1568"/>
                    </a:lnTo>
                    <a:close/>
                    <a:moveTo>
                      <a:pt x="1999" y="1285"/>
                    </a:moveTo>
                    <a:cubicBezTo>
                      <a:pt x="854" y="1365"/>
                      <a:pt x="854" y="1365"/>
                      <a:pt x="854" y="1365"/>
                    </a:cubicBezTo>
                    <a:cubicBezTo>
                      <a:pt x="1020" y="1588"/>
                      <a:pt x="1020" y="1588"/>
                      <a:pt x="1020" y="1588"/>
                    </a:cubicBezTo>
                    <a:cubicBezTo>
                      <a:pt x="1701" y="1635"/>
                      <a:pt x="1701" y="1635"/>
                      <a:pt x="1701" y="1635"/>
                    </a:cubicBezTo>
                    <a:cubicBezTo>
                      <a:pt x="1587" y="1852"/>
                      <a:pt x="1587" y="1852"/>
                      <a:pt x="1587" y="1852"/>
                    </a:cubicBezTo>
                    <a:cubicBezTo>
                      <a:pt x="907" y="1852"/>
                      <a:pt x="907" y="1852"/>
                      <a:pt x="907" y="1852"/>
                    </a:cubicBezTo>
                    <a:cubicBezTo>
                      <a:pt x="151" y="1626"/>
                      <a:pt x="151" y="1626"/>
                      <a:pt x="151" y="1626"/>
                    </a:cubicBezTo>
                    <a:cubicBezTo>
                      <a:pt x="0" y="1739"/>
                      <a:pt x="0" y="1739"/>
                      <a:pt x="0" y="1739"/>
                    </a:cubicBezTo>
                    <a:cubicBezTo>
                      <a:pt x="756" y="2104"/>
                      <a:pt x="756" y="2104"/>
                      <a:pt x="756" y="2104"/>
                    </a:cubicBezTo>
                    <a:cubicBezTo>
                      <a:pt x="2021" y="2193"/>
                      <a:pt x="2021" y="2193"/>
                      <a:pt x="2021" y="2193"/>
                    </a:cubicBezTo>
                    <a:cubicBezTo>
                      <a:pt x="2305" y="2297"/>
                      <a:pt x="2305" y="2297"/>
                      <a:pt x="2305" y="2297"/>
                    </a:cubicBezTo>
                    <a:cubicBezTo>
                      <a:pt x="2565" y="1587"/>
                      <a:pt x="2565" y="1587"/>
                      <a:pt x="2565" y="1587"/>
                    </a:cubicBezTo>
                    <a:lnTo>
                      <a:pt x="1999" y="128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/>
              </a:p>
            </p:txBody>
          </p:sp>
        </p:grp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4D1D3D7-461B-420D-B567-0118BEE685AA}"/>
                </a:ext>
              </a:extLst>
            </p:cNvPr>
            <p:cNvSpPr txBox="1"/>
            <p:nvPr/>
          </p:nvSpPr>
          <p:spPr>
            <a:xfrm>
              <a:off x="8460331" y="6020715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Landscape change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6852E941-0CCC-43B6-8D10-FAB4B1B430F2}"/>
              </a:ext>
            </a:extLst>
          </p:cNvPr>
          <p:cNvGrpSpPr/>
          <p:nvPr/>
        </p:nvGrpSpPr>
        <p:grpSpPr>
          <a:xfrm>
            <a:off x="6396460" y="3204077"/>
            <a:ext cx="1847441" cy="892804"/>
            <a:chOff x="6955793" y="5406354"/>
            <a:chExt cx="1847441" cy="892804"/>
          </a:xfrm>
        </p:grpSpPr>
        <p:grpSp>
          <p:nvGrpSpPr>
            <p:cNvPr id="25" name="Icon 28">
              <a:extLst>
                <a:ext uri="{FF2B5EF4-FFF2-40B4-BE49-F238E27FC236}">
                  <a16:creationId xmlns:a16="http://schemas.microsoft.com/office/drawing/2014/main" id="{116CAE41-D71F-4A39-9266-CD83BB7A8258}"/>
                </a:ext>
              </a:extLst>
            </p:cNvPr>
            <p:cNvGrpSpPr/>
            <p:nvPr/>
          </p:nvGrpSpPr>
          <p:grpSpPr>
            <a:xfrm>
              <a:off x="7483638" y="5406354"/>
              <a:ext cx="791750" cy="790163"/>
              <a:chOff x="8311671" y="4017294"/>
              <a:chExt cx="791750" cy="790163"/>
            </a:xfrm>
          </p:grpSpPr>
          <p:sp>
            <p:nvSpPr>
              <p:cNvPr id="26" name="Rectangle 182">
                <a:extLst>
                  <a:ext uri="{FF2B5EF4-FFF2-40B4-BE49-F238E27FC236}">
                    <a16:creationId xmlns:a16="http://schemas.microsoft.com/office/drawing/2014/main" id="{FE8D3ED8-F06B-4358-81E9-51474FFD0F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11671" y="4017294"/>
                <a:ext cx="791750" cy="7901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/>
              </a:p>
            </p:txBody>
          </p:sp>
          <p:sp>
            <p:nvSpPr>
              <p:cNvPr id="27" name="Freeform 183">
                <a:extLst>
                  <a:ext uri="{FF2B5EF4-FFF2-40B4-BE49-F238E27FC236}">
                    <a16:creationId xmlns:a16="http://schemas.microsoft.com/office/drawing/2014/main" id="{9A895B01-7D2A-4FDD-B551-70E7095EB2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33845" y="4223561"/>
                <a:ext cx="547402" cy="377628"/>
              </a:xfrm>
              <a:custGeom>
                <a:avLst/>
                <a:gdLst>
                  <a:gd name="T0" fmla="*/ 3401 w 3401"/>
                  <a:gd name="T1" fmla="*/ 983 h 2344"/>
                  <a:gd name="T2" fmla="*/ 3401 w 3401"/>
                  <a:gd name="T3" fmla="*/ 832 h 2344"/>
                  <a:gd name="T4" fmla="*/ 3023 w 3401"/>
                  <a:gd name="T5" fmla="*/ 832 h 2344"/>
                  <a:gd name="T6" fmla="*/ 2662 w 3401"/>
                  <a:gd name="T7" fmla="*/ 175 h 2344"/>
                  <a:gd name="T8" fmla="*/ 2373 w 3401"/>
                  <a:gd name="T9" fmla="*/ 0 h 2344"/>
                  <a:gd name="T10" fmla="*/ 1028 w 3401"/>
                  <a:gd name="T11" fmla="*/ 0 h 2344"/>
                  <a:gd name="T12" fmla="*/ 739 w 3401"/>
                  <a:gd name="T13" fmla="*/ 175 h 2344"/>
                  <a:gd name="T14" fmla="*/ 378 w 3401"/>
                  <a:gd name="T15" fmla="*/ 832 h 2344"/>
                  <a:gd name="T16" fmla="*/ 0 w 3401"/>
                  <a:gd name="T17" fmla="*/ 832 h 2344"/>
                  <a:gd name="T18" fmla="*/ 0 w 3401"/>
                  <a:gd name="T19" fmla="*/ 983 h 2344"/>
                  <a:gd name="T20" fmla="*/ 265 w 3401"/>
                  <a:gd name="T21" fmla="*/ 1134 h 2344"/>
                  <a:gd name="T22" fmla="*/ 227 w 3401"/>
                  <a:gd name="T23" fmla="*/ 1512 h 2344"/>
                  <a:gd name="T24" fmla="*/ 274 w 3401"/>
                  <a:gd name="T25" fmla="*/ 2193 h 2344"/>
                  <a:gd name="T26" fmla="*/ 424 w 3401"/>
                  <a:gd name="T27" fmla="*/ 2344 h 2344"/>
                  <a:gd name="T28" fmla="*/ 605 w 3401"/>
                  <a:gd name="T29" fmla="*/ 2344 h 2344"/>
                  <a:gd name="T30" fmla="*/ 756 w 3401"/>
                  <a:gd name="T31" fmla="*/ 2171 h 2344"/>
                  <a:gd name="T32" fmla="*/ 756 w 3401"/>
                  <a:gd name="T33" fmla="*/ 1966 h 2344"/>
                  <a:gd name="T34" fmla="*/ 2645 w 3401"/>
                  <a:gd name="T35" fmla="*/ 1966 h 2344"/>
                  <a:gd name="T36" fmla="*/ 2645 w 3401"/>
                  <a:gd name="T37" fmla="*/ 2171 h 2344"/>
                  <a:gd name="T38" fmla="*/ 2797 w 3401"/>
                  <a:gd name="T39" fmla="*/ 2344 h 2344"/>
                  <a:gd name="T40" fmla="*/ 2977 w 3401"/>
                  <a:gd name="T41" fmla="*/ 2344 h 2344"/>
                  <a:gd name="T42" fmla="*/ 3127 w 3401"/>
                  <a:gd name="T43" fmla="*/ 2193 h 2344"/>
                  <a:gd name="T44" fmla="*/ 3175 w 3401"/>
                  <a:gd name="T45" fmla="*/ 1512 h 2344"/>
                  <a:gd name="T46" fmla="*/ 3136 w 3401"/>
                  <a:gd name="T47" fmla="*/ 1134 h 2344"/>
                  <a:gd name="T48" fmla="*/ 3401 w 3401"/>
                  <a:gd name="T49" fmla="*/ 983 h 2344"/>
                  <a:gd name="T50" fmla="*/ 1001 w 3401"/>
                  <a:gd name="T51" fmla="*/ 1684 h 2344"/>
                  <a:gd name="T52" fmla="*/ 454 w 3401"/>
                  <a:gd name="T53" fmla="*/ 1684 h 2344"/>
                  <a:gd name="T54" fmla="*/ 433 w 3401"/>
                  <a:gd name="T55" fmla="*/ 1380 h 2344"/>
                  <a:gd name="T56" fmla="*/ 814 w 3401"/>
                  <a:gd name="T57" fmla="*/ 1407 h 2344"/>
                  <a:gd name="T58" fmla="*/ 1001 w 3401"/>
                  <a:gd name="T59" fmla="*/ 1627 h 2344"/>
                  <a:gd name="T60" fmla="*/ 1001 w 3401"/>
                  <a:gd name="T61" fmla="*/ 1684 h 2344"/>
                  <a:gd name="T62" fmla="*/ 635 w 3401"/>
                  <a:gd name="T63" fmla="*/ 832 h 2344"/>
                  <a:gd name="T64" fmla="*/ 937 w 3401"/>
                  <a:gd name="T65" fmla="*/ 282 h 2344"/>
                  <a:gd name="T66" fmla="*/ 1026 w 3401"/>
                  <a:gd name="T67" fmla="*/ 229 h 2344"/>
                  <a:gd name="T68" fmla="*/ 2375 w 3401"/>
                  <a:gd name="T69" fmla="*/ 229 h 2344"/>
                  <a:gd name="T70" fmla="*/ 2464 w 3401"/>
                  <a:gd name="T71" fmla="*/ 282 h 2344"/>
                  <a:gd name="T72" fmla="*/ 2766 w 3401"/>
                  <a:gd name="T73" fmla="*/ 833 h 2344"/>
                  <a:gd name="T74" fmla="*/ 2766 w 3401"/>
                  <a:gd name="T75" fmla="*/ 833 h 2344"/>
                  <a:gd name="T76" fmla="*/ 1701 w 3401"/>
                  <a:gd name="T77" fmla="*/ 908 h 2344"/>
                  <a:gd name="T78" fmla="*/ 635 w 3401"/>
                  <a:gd name="T79" fmla="*/ 832 h 2344"/>
                  <a:gd name="T80" fmla="*/ 2947 w 3401"/>
                  <a:gd name="T81" fmla="*/ 1684 h 2344"/>
                  <a:gd name="T82" fmla="*/ 2400 w 3401"/>
                  <a:gd name="T83" fmla="*/ 1684 h 2344"/>
                  <a:gd name="T84" fmla="*/ 2400 w 3401"/>
                  <a:gd name="T85" fmla="*/ 1627 h 2344"/>
                  <a:gd name="T86" fmla="*/ 2587 w 3401"/>
                  <a:gd name="T87" fmla="*/ 1407 h 2344"/>
                  <a:gd name="T88" fmla="*/ 2968 w 3401"/>
                  <a:gd name="T89" fmla="*/ 1380 h 2344"/>
                  <a:gd name="T90" fmla="*/ 2947 w 3401"/>
                  <a:gd name="T91" fmla="*/ 1684 h 2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01" h="2344">
                    <a:moveTo>
                      <a:pt x="3401" y="983"/>
                    </a:moveTo>
                    <a:cubicBezTo>
                      <a:pt x="3401" y="832"/>
                      <a:pt x="3401" y="832"/>
                      <a:pt x="3401" y="832"/>
                    </a:cubicBezTo>
                    <a:cubicBezTo>
                      <a:pt x="3023" y="832"/>
                      <a:pt x="3023" y="832"/>
                      <a:pt x="3023" y="832"/>
                    </a:cubicBezTo>
                    <a:cubicBezTo>
                      <a:pt x="2662" y="175"/>
                      <a:pt x="2662" y="175"/>
                      <a:pt x="2662" y="175"/>
                    </a:cubicBezTo>
                    <a:cubicBezTo>
                      <a:pt x="2597" y="51"/>
                      <a:pt x="2513" y="0"/>
                      <a:pt x="2373" y="0"/>
                    </a:cubicBezTo>
                    <a:cubicBezTo>
                      <a:pt x="1028" y="0"/>
                      <a:pt x="1028" y="0"/>
                      <a:pt x="1028" y="0"/>
                    </a:cubicBezTo>
                    <a:cubicBezTo>
                      <a:pt x="888" y="0"/>
                      <a:pt x="805" y="51"/>
                      <a:pt x="739" y="175"/>
                    </a:cubicBezTo>
                    <a:cubicBezTo>
                      <a:pt x="378" y="832"/>
                      <a:pt x="378" y="832"/>
                      <a:pt x="378" y="832"/>
                    </a:cubicBezTo>
                    <a:cubicBezTo>
                      <a:pt x="0" y="832"/>
                      <a:pt x="0" y="832"/>
                      <a:pt x="0" y="832"/>
                    </a:cubicBezTo>
                    <a:cubicBezTo>
                      <a:pt x="0" y="983"/>
                      <a:pt x="0" y="983"/>
                      <a:pt x="0" y="983"/>
                    </a:cubicBezTo>
                    <a:cubicBezTo>
                      <a:pt x="265" y="1134"/>
                      <a:pt x="265" y="1134"/>
                      <a:pt x="265" y="1134"/>
                    </a:cubicBezTo>
                    <a:cubicBezTo>
                      <a:pt x="229" y="1267"/>
                      <a:pt x="227" y="1316"/>
                      <a:pt x="227" y="1512"/>
                    </a:cubicBezTo>
                    <a:cubicBezTo>
                      <a:pt x="274" y="2193"/>
                      <a:pt x="274" y="2193"/>
                      <a:pt x="274" y="2193"/>
                    </a:cubicBezTo>
                    <a:cubicBezTo>
                      <a:pt x="282" y="2284"/>
                      <a:pt x="341" y="2344"/>
                      <a:pt x="424" y="2344"/>
                    </a:cubicBezTo>
                    <a:cubicBezTo>
                      <a:pt x="605" y="2344"/>
                      <a:pt x="605" y="2344"/>
                      <a:pt x="605" y="2344"/>
                    </a:cubicBezTo>
                    <a:cubicBezTo>
                      <a:pt x="695" y="2344"/>
                      <a:pt x="756" y="2275"/>
                      <a:pt x="756" y="2171"/>
                    </a:cubicBezTo>
                    <a:cubicBezTo>
                      <a:pt x="756" y="1966"/>
                      <a:pt x="756" y="1966"/>
                      <a:pt x="756" y="1966"/>
                    </a:cubicBezTo>
                    <a:cubicBezTo>
                      <a:pt x="2645" y="1966"/>
                      <a:pt x="2645" y="1966"/>
                      <a:pt x="2645" y="1966"/>
                    </a:cubicBezTo>
                    <a:cubicBezTo>
                      <a:pt x="2645" y="2171"/>
                      <a:pt x="2645" y="2171"/>
                      <a:pt x="2645" y="2171"/>
                    </a:cubicBezTo>
                    <a:cubicBezTo>
                      <a:pt x="2645" y="2275"/>
                      <a:pt x="2707" y="2344"/>
                      <a:pt x="2797" y="2344"/>
                    </a:cubicBezTo>
                    <a:cubicBezTo>
                      <a:pt x="2977" y="2344"/>
                      <a:pt x="2977" y="2344"/>
                      <a:pt x="2977" y="2344"/>
                    </a:cubicBezTo>
                    <a:cubicBezTo>
                      <a:pt x="3060" y="2344"/>
                      <a:pt x="3119" y="2284"/>
                      <a:pt x="3127" y="2193"/>
                    </a:cubicBezTo>
                    <a:cubicBezTo>
                      <a:pt x="3175" y="1512"/>
                      <a:pt x="3175" y="1512"/>
                      <a:pt x="3175" y="1512"/>
                    </a:cubicBezTo>
                    <a:cubicBezTo>
                      <a:pt x="3175" y="1316"/>
                      <a:pt x="3172" y="1267"/>
                      <a:pt x="3136" y="1134"/>
                    </a:cubicBezTo>
                    <a:lnTo>
                      <a:pt x="3401" y="983"/>
                    </a:lnTo>
                    <a:close/>
                    <a:moveTo>
                      <a:pt x="1001" y="1684"/>
                    </a:moveTo>
                    <a:cubicBezTo>
                      <a:pt x="454" y="1684"/>
                      <a:pt x="454" y="1684"/>
                      <a:pt x="454" y="1684"/>
                    </a:cubicBezTo>
                    <a:cubicBezTo>
                      <a:pt x="433" y="1380"/>
                      <a:pt x="433" y="1380"/>
                      <a:pt x="433" y="1380"/>
                    </a:cubicBezTo>
                    <a:cubicBezTo>
                      <a:pt x="814" y="1407"/>
                      <a:pt x="814" y="1407"/>
                      <a:pt x="814" y="1407"/>
                    </a:cubicBezTo>
                    <a:cubicBezTo>
                      <a:pt x="926" y="1411"/>
                      <a:pt x="1001" y="1500"/>
                      <a:pt x="1001" y="1627"/>
                    </a:cubicBezTo>
                    <a:lnTo>
                      <a:pt x="1001" y="1684"/>
                    </a:lnTo>
                    <a:close/>
                    <a:moveTo>
                      <a:pt x="635" y="832"/>
                    </a:moveTo>
                    <a:cubicBezTo>
                      <a:pt x="937" y="282"/>
                      <a:pt x="937" y="282"/>
                      <a:pt x="937" y="282"/>
                    </a:cubicBezTo>
                    <a:cubicBezTo>
                      <a:pt x="964" y="232"/>
                      <a:pt x="969" y="229"/>
                      <a:pt x="1026" y="229"/>
                    </a:cubicBezTo>
                    <a:cubicBezTo>
                      <a:pt x="2375" y="229"/>
                      <a:pt x="2375" y="229"/>
                      <a:pt x="2375" y="229"/>
                    </a:cubicBezTo>
                    <a:cubicBezTo>
                      <a:pt x="2432" y="229"/>
                      <a:pt x="2437" y="232"/>
                      <a:pt x="2464" y="282"/>
                    </a:cubicBezTo>
                    <a:cubicBezTo>
                      <a:pt x="2766" y="833"/>
                      <a:pt x="2766" y="833"/>
                      <a:pt x="2766" y="833"/>
                    </a:cubicBezTo>
                    <a:cubicBezTo>
                      <a:pt x="2766" y="833"/>
                      <a:pt x="2766" y="833"/>
                      <a:pt x="2766" y="833"/>
                    </a:cubicBezTo>
                    <a:cubicBezTo>
                      <a:pt x="1701" y="908"/>
                      <a:pt x="1701" y="908"/>
                      <a:pt x="1701" y="908"/>
                    </a:cubicBezTo>
                    <a:lnTo>
                      <a:pt x="635" y="832"/>
                    </a:lnTo>
                    <a:close/>
                    <a:moveTo>
                      <a:pt x="2947" y="1684"/>
                    </a:moveTo>
                    <a:cubicBezTo>
                      <a:pt x="2400" y="1684"/>
                      <a:pt x="2400" y="1684"/>
                      <a:pt x="2400" y="1684"/>
                    </a:cubicBezTo>
                    <a:cubicBezTo>
                      <a:pt x="2400" y="1627"/>
                      <a:pt x="2400" y="1627"/>
                      <a:pt x="2400" y="1627"/>
                    </a:cubicBezTo>
                    <a:cubicBezTo>
                      <a:pt x="2400" y="1500"/>
                      <a:pt x="2476" y="1411"/>
                      <a:pt x="2587" y="1407"/>
                    </a:cubicBezTo>
                    <a:cubicBezTo>
                      <a:pt x="2968" y="1380"/>
                      <a:pt x="2968" y="1380"/>
                      <a:pt x="2968" y="1380"/>
                    </a:cubicBezTo>
                    <a:lnTo>
                      <a:pt x="2947" y="16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99"/>
              </a:p>
            </p:txBody>
          </p:sp>
        </p:grp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4BB3BA20-7F37-4369-BFC4-A7E08B9B3A0E}"/>
                </a:ext>
              </a:extLst>
            </p:cNvPr>
            <p:cNvSpPr txBox="1"/>
            <p:nvPr/>
          </p:nvSpPr>
          <p:spPr>
            <a:xfrm>
              <a:off x="6955793" y="6020715"/>
              <a:ext cx="1847441" cy="27844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GB" sz="1400" dirty="0">
                  <a:solidFill>
                    <a:schemeClr val="accent2"/>
                  </a:solidFill>
                </a:rPr>
                <a:t>Zero carbon cars</a:t>
              </a: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5398F6C1-02C6-4159-B89A-281F19DEF76E}"/>
              </a:ext>
            </a:extLst>
          </p:cNvPr>
          <p:cNvSpPr txBox="1"/>
          <p:nvPr/>
        </p:nvSpPr>
        <p:spPr>
          <a:xfrm>
            <a:off x="2547697" y="2381546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buClr>
                <a:schemeClr val="accent2"/>
              </a:buClr>
              <a:tabLst>
                <a:tab pos="444500" algn="ctr"/>
                <a:tab pos="901700" algn="l"/>
                <a:tab pos="1701800" algn="ctr"/>
              </a:tabLst>
            </a:pPr>
            <a:r>
              <a:rPr lang="en-GB" dirty="0">
                <a:solidFill>
                  <a:schemeClr val="accent2"/>
                </a:solidFill>
              </a:rPr>
              <a:t>	0	</a:t>
            </a:r>
            <a:r>
              <a:rPr lang="en-GB" dirty="0">
                <a:solidFill>
                  <a:schemeClr val="accent2"/>
                </a:solidFill>
                <a:sym typeface="Wingdings" panose="05000000000000000000" pitchFamily="2" charset="2"/>
              </a:rPr>
              <a:t>   	</a:t>
            </a:r>
            <a:r>
              <a:rPr lang="en-GB" dirty="0">
                <a:solidFill>
                  <a:schemeClr val="accent2"/>
                </a:solidFill>
              </a:rPr>
              <a:t>180 </a:t>
            </a:r>
            <a:br>
              <a:rPr lang="en-GB" dirty="0">
                <a:solidFill>
                  <a:schemeClr val="accent2"/>
                </a:solidFill>
              </a:rPr>
            </a:br>
            <a:r>
              <a:rPr lang="en-GB" dirty="0">
                <a:solidFill>
                  <a:schemeClr val="accent2"/>
                </a:solidFill>
              </a:rPr>
              <a:t>	 Mt/y CO</a:t>
            </a:r>
            <a:r>
              <a:rPr lang="en-GB" baseline="-25000" dirty="0">
                <a:solidFill>
                  <a:schemeClr val="accent2"/>
                </a:solidFill>
              </a:rPr>
              <a:t>2</a:t>
            </a:r>
            <a:r>
              <a:rPr lang="en-GB" dirty="0">
                <a:solidFill>
                  <a:schemeClr val="accent2"/>
                </a:solidFill>
              </a:rPr>
              <a:t>	Mt/y CO</a:t>
            </a:r>
            <a:r>
              <a:rPr lang="en-GB" baseline="-25000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CCB8CB-95A7-4DF1-8A7A-95C60D3A9C42}"/>
              </a:ext>
            </a:extLst>
          </p:cNvPr>
          <p:cNvSpPr/>
          <p:nvPr/>
        </p:nvSpPr>
        <p:spPr>
          <a:xfrm>
            <a:off x="630531" y="1458418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5998ACFB-60FF-4033-9070-BDD30B6A8532}"/>
              </a:ext>
            </a:extLst>
          </p:cNvPr>
          <p:cNvSpPr/>
          <p:nvPr/>
        </p:nvSpPr>
        <p:spPr>
          <a:xfrm>
            <a:off x="630531" y="2368890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C88E838-3833-4B8E-835C-5426CDCC947E}"/>
              </a:ext>
            </a:extLst>
          </p:cNvPr>
          <p:cNvSpPr/>
          <p:nvPr/>
        </p:nvSpPr>
        <p:spPr>
          <a:xfrm>
            <a:off x="630531" y="3276940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02AA970-11A3-4F28-BA6E-1D1CD30FDB29}"/>
              </a:ext>
            </a:extLst>
          </p:cNvPr>
          <p:cNvSpPr/>
          <p:nvPr/>
        </p:nvSpPr>
        <p:spPr>
          <a:xfrm>
            <a:off x="630531" y="4184990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61C4859-1B38-4BAD-98ED-50F7AA54B8CE}"/>
              </a:ext>
            </a:extLst>
          </p:cNvPr>
          <p:cNvSpPr/>
          <p:nvPr/>
        </p:nvSpPr>
        <p:spPr>
          <a:xfrm>
            <a:off x="630531" y="5075253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8AD365-BCBE-43C0-AE40-8717FECE3246}"/>
              </a:ext>
            </a:extLst>
          </p:cNvPr>
          <p:cNvSpPr/>
          <p:nvPr/>
        </p:nvSpPr>
        <p:spPr>
          <a:xfrm>
            <a:off x="6264522" y="1460840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27D0A96-C478-40EA-9D4B-13C6683FD982}"/>
              </a:ext>
            </a:extLst>
          </p:cNvPr>
          <p:cNvSpPr/>
          <p:nvPr/>
        </p:nvSpPr>
        <p:spPr>
          <a:xfrm>
            <a:off x="6264522" y="2368890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698C7D2-61A9-4004-AC61-726D5786AC83}"/>
              </a:ext>
            </a:extLst>
          </p:cNvPr>
          <p:cNvSpPr/>
          <p:nvPr/>
        </p:nvSpPr>
        <p:spPr>
          <a:xfrm>
            <a:off x="6264522" y="3276940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6F1D969-6F3A-43D8-8E66-A988B5D62BCA}"/>
              </a:ext>
            </a:extLst>
          </p:cNvPr>
          <p:cNvSpPr/>
          <p:nvPr/>
        </p:nvSpPr>
        <p:spPr>
          <a:xfrm>
            <a:off x="6264522" y="4184990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A953FE6-D358-4BF8-BF4D-622EAFE24DD9}"/>
              </a:ext>
            </a:extLst>
          </p:cNvPr>
          <p:cNvSpPr txBox="1"/>
          <p:nvPr/>
        </p:nvSpPr>
        <p:spPr>
          <a:xfrm>
            <a:off x="8412738" y="5094172"/>
            <a:ext cx="2952000" cy="79016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buClr>
                <a:schemeClr val="accent2"/>
              </a:buClr>
            </a:pPr>
            <a:r>
              <a:rPr lang="en-GB" dirty="0">
                <a:solidFill>
                  <a:schemeClr val="accent2"/>
                </a:solidFill>
              </a:rPr>
              <a:t>Large scale change affecting 20% of agricultural land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59FD7AD-D07D-4FAF-94E9-695D617465E8}"/>
              </a:ext>
            </a:extLst>
          </p:cNvPr>
          <p:cNvSpPr/>
          <p:nvPr/>
        </p:nvSpPr>
        <p:spPr>
          <a:xfrm>
            <a:off x="6264522" y="5075253"/>
            <a:ext cx="5292000" cy="828000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8384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69CE2-9C37-4197-9C62-8F721321C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8971" y="119483"/>
            <a:ext cx="9659938" cy="1414800"/>
          </a:xfrm>
        </p:spPr>
        <p:txBody>
          <a:bodyPr/>
          <a:lstStyle/>
          <a:p>
            <a:r>
              <a:rPr lang="en-GB" dirty="0" smtClean="0"/>
              <a:t>Speed and </a:t>
            </a:r>
            <a:r>
              <a:rPr lang="en-GB" dirty="0"/>
              <a:t>Scale - The race for hydrogen </a:t>
            </a:r>
            <a:r>
              <a:rPr lang="en-GB" dirty="0" smtClean="0"/>
              <a:t>speakers </a:t>
            </a:r>
            <a:endParaRPr lang="en-GB" dirty="0"/>
          </a:p>
        </p:txBody>
      </p:sp>
      <p:pic>
        <p:nvPicPr>
          <p:cNvPr id="84" name="Picture 8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74" y="1929832"/>
            <a:ext cx="1871579" cy="1871579"/>
          </a:xfrm>
          <a:prstGeom prst="rect">
            <a:avLst/>
          </a:prstGeom>
        </p:spPr>
      </p:pic>
      <p:pic>
        <p:nvPicPr>
          <p:cNvPr id="85" name="Picture 8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24"/>
          <a:stretch/>
        </p:blipFill>
        <p:spPr>
          <a:xfrm>
            <a:off x="2678019" y="1944627"/>
            <a:ext cx="1448188" cy="1856785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998" y="1944627"/>
            <a:ext cx="1866816" cy="1866816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06" y="1944627"/>
            <a:ext cx="1866816" cy="1866816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310" y="1944627"/>
            <a:ext cx="1866816" cy="1866816"/>
          </a:xfrm>
          <a:prstGeom prst="rect">
            <a:avLst/>
          </a:prstGeom>
        </p:spPr>
      </p:pic>
      <p:sp>
        <p:nvSpPr>
          <p:cNvPr id="89" name="TextBox 88"/>
          <p:cNvSpPr txBox="1"/>
          <p:nvPr/>
        </p:nvSpPr>
        <p:spPr>
          <a:xfrm>
            <a:off x="382304" y="3894206"/>
            <a:ext cx="1856785" cy="4999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100" b="1" dirty="0" smtClean="0"/>
              <a:t>Matthew Knight</a:t>
            </a:r>
            <a:br>
              <a:rPr lang="en-GB" sz="1100" b="1" dirty="0" smtClean="0"/>
            </a:br>
            <a:r>
              <a:rPr lang="en-GB" sz="1100" dirty="0" smtClean="0"/>
              <a:t>Head of Business Development </a:t>
            </a:r>
            <a:br>
              <a:rPr lang="en-GB" sz="1100" dirty="0" smtClean="0"/>
            </a:br>
            <a:r>
              <a:rPr lang="en-GB" sz="1100" dirty="0" smtClean="0"/>
              <a:t>Siemens Energy</a:t>
            </a:r>
            <a:endParaRPr lang="en-GB" sz="1100" dirty="0" smtClean="0"/>
          </a:p>
        </p:txBody>
      </p:sp>
      <p:sp>
        <p:nvSpPr>
          <p:cNvPr id="90" name="TextBox 89"/>
          <p:cNvSpPr txBox="1"/>
          <p:nvPr/>
        </p:nvSpPr>
        <p:spPr>
          <a:xfrm>
            <a:off x="2473720" y="3894206"/>
            <a:ext cx="1856785" cy="4999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100" b="1" dirty="0" err="1" smtClean="0"/>
              <a:t>Benj</a:t>
            </a:r>
            <a:r>
              <a:rPr lang="en-GB" sz="1100" b="1" dirty="0" smtClean="0"/>
              <a:t> Sykes</a:t>
            </a:r>
          </a:p>
          <a:p>
            <a:pPr algn="ctr"/>
            <a:r>
              <a:rPr lang="en-GB" sz="1100" dirty="0" smtClean="0"/>
              <a:t>VP, Offshore</a:t>
            </a:r>
          </a:p>
          <a:p>
            <a:pPr algn="ctr"/>
            <a:r>
              <a:rPr lang="en-GB" sz="1100" dirty="0" err="1"/>
              <a:t>Ørsted</a:t>
            </a:r>
            <a:endParaRPr lang="en-GB" sz="1100" dirty="0" smtClean="0"/>
          </a:p>
        </p:txBody>
      </p:sp>
      <p:sp>
        <p:nvSpPr>
          <p:cNvPr id="91" name="TextBox 90"/>
          <p:cNvSpPr txBox="1"/>
          <p:nvPr/>
        </p:nvSpPr>
        <p:spPr>
          <a:xfrm>
            <a:off x="4780998" y="3894206"/>
            <a:ext cx="1856785" cy="4999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100" b="1" dirty="0" smtClean="0"/>
              <a:t>Barry Carruthers</a:t>
            </a:r>
            <a:r>
              <a:rPr lang="en-GB" sz="1100" dirty="0" smtClean="0"/>
              <a:t/>
            </a:r>
            <a:br>
              <a:rPr lang="en-GB" sz="1100" dirty="0" smtClean="0"/>
            </a:br>
            <a:r>
              <a:rPr lang="en-GB" sz="1100" dirty="0" smtClean="0"/>
              <a:t>Hydrogen Director</a:t>
            </a:r>
            <a:br>
              <a:rPr lang="en-GB" sz="1100" dirty="0" smtClean="0"/>
            </a:br>
            <a:r>
              <a:rPr lang="en-GB" sz="1100" dirty="0" err="1" smtClean="0"/>
              <a:t>ScottishPower</a:t>
            </a:r>
            <a:endParaRPr lang="en-GB" sz="1100" dirty="0" smtClean="0"/>
          </a:p>
        </p:txBody>
      </p:sp>
      <p:sp>
        <p:nvSpPr>
          <p:cNvPr id="92" name="Rectangle 91"/>
          <p:cNvSpPr/>
          <p:nvPr/>
        </p:nvSpPr>
        <p:spPr>
          <a:xfrm>
            <a:off x="7175289" y="3838545"/>
            <a:ext cx="212144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/>
              <a:t>Clare Jackson</a:t>
            </a:r>
            <a:r>
              <a:rPr lang="en-GB" sz="1100" dirty="0"/>
              <a:t/>
            </a:r>
            <a:br>
              <a:rPr lang="en-GB" sz="1100" dirty="0"/>
            </a:br>
            <a:r>
              <a:rPr lang="en-GB" sz="1100" dirty="0"/>
              <a:t>Senior Consultant, </a:t>
            </a:r>
            <a:r>
              <a:rPr lang="en-GB" sz="1100" dirty="0" err="1"/>
              <a:t>Ecuity</a:t>
            </a:r>
            <a:r>
              <a:rPr lang="en-GB" sz="1100" dirty="0"/>
              <a:t> &amp; Programme </a:t>
            </a:r>
            <a:r>
              <a:rPr lang="en-GB" sz="1100" dirty="0" smtClean="0"/>
              <a:t>Manager</a:t>
            </a:r>
            <a:br>
              <a:rPr lang="en-GB" sz="1100" dirty="0" smtClean="0"/>
            </a:br>
            <a:r>
              <a:rPr lang="en-GB" sz="1100" dirty="0" smtClean="0"/>
              <a:t>Hydrogen Hub</a:t>
            </a:r>
            <a:endParaRPr lang="en-GB" sz="1100" dirty="0"/>
          </a:p>
        </p:txBody>
      </p:sp>
      <p:sp>
        <p:nvSpPr>
          <p:cNvPr id="93" name="TextBox 92"/>
          <p:cNvSpPr txBox="1"/>
          <p:nvPr/>
        </p:nvSpPr>
        <p:spPr>
          <a:xfrm>
            <a:off x="9677809" y="3894206"/>
            <a:ext cx="2166302" cy="10962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100" b="1" dirty="0" smtClean="0"/>
              <a:t>Rita </a:t>
            </a:r>
            <a:r>
              <a:rPr lang="en-GB" sz="1100" b="1" dirty="0" err="1" smtClean="0"/>
              <a:t>Wadey</a:t>
            </a:r>
            <a:r>
              <a:rPr lang="en-GB" sz="1100" dirty="0"/>
              <a:t/>
            </a:r>
            <a:br>
              <a:rPr lang="en-GB" sz="1100" dirty="0"/>
            </a:br>
            <a:r>
              <a:rPr lang="en-GB" sz="1100" dirty="0"/>
              <a:t>Deputy Director, Hydrogen Economy</a:t>
            </a:r>
            <a:br>
              <a:rPr lang="en-GB" sz="1100" dirty="0"/>
            </a:br>
            <a:r>
              <a:rPr lang="en-GB" sz="1100" dirty="0"/>
              <a:t>Department for Business, Energy and Industrial Strategy (BEIS)</a:t>
            </a:r>
            <a:endParaRPr lang="en-GB" sz="1100" dirty="0" smtClean="0"/>
          </a:p>
        </p:txBody>
      </p:sp>
    </p:spTree>
    <p:extLst>
      <p:ext uri="{BB962C8B-B14F-4D97-AF65-F5344CB8AC3E}">
        <p14:creationId xmlns:p14="http://schemas.microsoft.com/office/powerpoint/2010/main" val="41026970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reen gas obligation&#10;Green gas obligation&#10;">
            <a:extLst>
              <a:ext uri="{FF2B5EF4-FFF2-40B4-BE49-F238E27FC236}">
                <a16:creationId xmlns:a16="http://schemas.microsoft.com/office/drawing/2014/main" id="{27F4D302-D087-F84F-A18B-0FDBCA68665B}"/>
              </a:ext>
            </a:extLst>
          </p:cNvPr>
          <p:cNvSpPr/>
          <p:nvPr/>
        </p:nvSpPr>
        <p:spPr>
          <a:xfrm>
            <a:off x="3022882" y="5483223"/>
            <a:ext cx="1402577" cy="217239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reen gas oblig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76CC730-EC12-4D89-83F0-70C915C9B4CF}"/>
              </a:ext>
            </a:extLst>
          </p:cNvPr>
          <p:cNvGrpSpPr/>
          <p:nvPr/>
        </p:nvGrpSpPr>
        <p:grpSpPr>
          <a:xfrm>
            <a:off x="3022882" y="4300188"/>
            <a:ext cx="2654135" cy="1291655"/>
            <a:chOff x="3022882" y="4300188"/>
            <a:chExt cx="2654135" cy="1291655"/>
          </a:xfrm>
        </p:grpSpPr>
        <p:cxnSp>
          <p:nvCxnSpPr>
            <p:cNvPr id="283" name="Arrow 2">
              <a:extLst>
                <a:ext uri="{FF2B5EF4-FFF2-40B4-BE49-F238E27FC236}">
                  <a16:creationId xmlns:a16="http://schemas.microsoft.com/office/drawing/2014/main" id="{1B521EB3-A2AD-E242-AC23-CFE695CBED27}"/>
                </a:ext>
              </a:extLst>
            </p:cNvPr>
            <p:cNvCxnSpPr>
              <a:cxnSpLocks/>
              <a:stCxn id="127" idx="1"/>
              <a:endCxn id="131" idx="2"/>
            </p:cNvCxnSpPr>
            <p:nvPr/>
          </p:nvCxnSpPr>
          <p:spPr>
            <a:xfrm rot="10800000" flipH="1">
              <a:off x="3022882" y="4300389"/>
              <a:ext cx="734146" cy="1291454"/>
            </a:xfrm>
            <a:prstGeom prst="bentConnector4">
              <a:avLst>
                <a:gd name="adj1" fmla="val -31138"/>
                <a:gd name="adj2" fmla="val 54205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Arrow 2">
              <a:extLst>
                <a:ext uri="{FF2B5EF4-FFF2-40B4-BE49-F238E27FC236}">
                  <a16:creationId xmlns:a16="http://schemas.microsoft.com/office/drawing/2014/main" id="{ED8A6CF4-1463-CE49-A0D9-8D8BCD5875E4}"/>
                </a:ext>
              </a:extLst>
            </p:cNvPr>
            <p:cNvCxnSpPr>
              <a:cxnSpLocks/>
              <a:stCxn id="127" idx="3"/>
              <a:endCxn id="134" idx="2"/>
            </p:cNvCxnSpPr>
            <p:nvPr/>
          </p:nvCxnSpPr>
          <p:spPr>
            <a:xfrm flipV="1">
              <a:off x="4425459" y="4300188"/>
              <a:ext cx="1251558" cy="1291655"/>
            </a:xfrm>
            <a:prstGeom prst="bentConnector2">
              <a:avLst/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F8F4021F-5AAE-E748-812E-E416A50C7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ilding a UK hydrogen econom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490421-FA1F-3249-A8EE-1486DE58DAAE}"/>
              </a:ext>
            </a:extLst>
          </p:cNvPr>
          <p:cNvSpPr/>
          <p:nvPr/>
        </p:nvSpPr>
        <p:spPr>
          <a:xfrm>
            <a:off x="627063" y="3592279"/>
            <a:ext cx="11087100" cy="27010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D3FFEA-2928-B949-987D-5DDAF213F163}"/>
              </a:ext>
            </a:extLst>
          </p:cNvPr>
          <p:cNvSpPr txBox="1"/>
          <p:nvPr/>
        </p:nvSpPr>
        <p:spPr>
          <a:xfrm>
            <a:off x="738963" y="3624376"/>
            <a:ext cx="339837" cy="18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02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4B4EBE-4A6E-F242-A4AA-9BA89E51BB7D}"/>
              </a:ext>
            </a:extLst>
          </p:cNvPr>
          <p:cNvSpPr txBox="1"/>
          <p:nvPr/>
        </p:nvSpPr>
        <p:spPr>
          <a:xfrm>
            <a:off x="11332014" y="3624376"/>
            <a:ext cx="339837" cy="18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05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80856FC-CA91-0F4B-B094-1E24FE9E7850}"/>
              </a:ext>
            </a:extLst>
          </p:cNvPr>
          <p:cNvSpPr txBox="1"/>
          <p:nvPr/>
        </p:nvSpPr>
        <p:spPr>
          <a:xfrm>
            <a:off x="9164186" y="3624376"/>
            <a:ext cx="339837" cy="18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03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81CDB8F-80CC-2549-9B1A-95A57C902CCD}"/>
              </a:ext>
            </a:extLst>
          </p:cNvPr>
          <p:cNvSpPr txBox="1"/>
          <p:nvPr/>
        </p:nvSpPr>
        <p:spPr>
          <a:xfrm>
            <a:off x="2252256" y="3624376"/>
            <a:ext cx="339837" cy="18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021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379B01-161F-6245-AA96-CD076A066DE7}"/>
              </a:ext>
            </a:extLst>
          </p:cNvPr>
          <p:cNvSpPr txBox="1"/>
          <p:nvPr/>
        </p:nvSpPr>
        <p:spPr>
          <a:xfrm>
            <a:off x="3765549" y="3624376"/>
            <a:ext cx="339837" cy="18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5992DFB-EF21-C84C-A543-9F95E2EE8EB7}"/>
              </a:ext>
            </a:extLst>
          </p:cNvPr>
          <p:cNvSpPr txBox="1"/>
          <p:nvPr/>
        </p:nvSpPr>
        <p:spPr>
          <a:xfrm>
            <a:off x="5278842" y="3624376"/>
            <a:ext cx="339837" cy="18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02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B4B998A-7EC6-4B4D-8CEB-90E15662FB70}"/>
              </a:ext>
            </a:extLst>
          </p:cNvPr>
          <p:cNvSpPr txBox="1"/>
          <p:nvPr/>
        </p:nvSpPr>
        <p:spPr>
          <a:xfrm>
            <a:off x="7000485" y="3624376"/>
            <a:ext cx="339837" cy="18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027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EEA7040-9259-0E49-BE8E-FCE638260B51}"/>
              </a:ext>
            </a:extLst>
          </p:cNvPr>
          <p:cNvSpPr txBox="1"/>
          <p:nvPr/>
        </p:nvSpPr>
        <p:spPr>
          <a:xfrm>
            <a:off x="10293816" y="3624376"/>
            <a:ext cx="339837" cy="18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040</a:t>
            </a:r>
          </a:p>
        </p:txBody>
      </p:sp>
      <p:sp>
        <p:nvSpPr>
          <p:cNvPr id="30" name="Car">
            <a:extLst>
              <a:ext uri="{FF2B5EF4-FFF2-40B4-BE49-F238E27FC236}">
                <a16:creationId xmlns:a16="http://schemas.microsoft.com/office/drawing/2014/main" id="{310692EB-6502-3D4A-B614-28E30DFF3CFE}"/>
              </a:ext>
            </a:extLst>
          </p:cNvPr>
          <p:cNvSpPr/>
          <p:nvPr/>
        </p:nvSpPr>
        <p:spPr>
          <a:xfrm>
            <a:off x="635063" y="3220881"/>
            <a:ext cx="496593" cy="290111"/>
          </a:xfrm>
          <a:custGeom>
            <a:avLst/>
            <a:gdLst>
              <a:gd name="connsiteX0" fmla="*/ 489662 w 2472101"/>
              <a:gd name="connsiteY0" fmla="*/ 1029877 h 1444206"/>
              <a:gd name="connsiteX1" fmla="*/ 282498 w 2472101"/>
              <a:gd name="connsiteY1" fmla="*/ 1237042 h 1444206"/>
              <a:gd name="connsiteX2" fmla="*/ 489662 w 2472101"/>
              <a:gd name="connsiteY2" fmla="*/ 1444207 h 1444206"/>
              <a:gd name="connsiteX3" fmla="*/ 696827 w 2472101"/>
              <a:gd name="connsiteY3" fmla="*/ 1237042 h 1444206"/>
              <a:gd name="connsiteX4" fmla="*/ 489662 w 2472101"/>
              <a:gd name="connsiteY4" fmla="*/ 1029877 h 1444206"/>
              <a:gd name="connsiteX5" fmla="*/ 2416593 w 2472101"/>
              <a:gd name="connsiteY5" fmla="*/ 871282 h 1444206"/>
              <a:gd name="connsiteX6" fmla="*/ 2416593 w 2472101"/>
              <a:gd name="connsiteY6" fmla="*/ 871282 h 1444206"/>
              <a:gd name="connsiteX7" fmla="*/ 2416593 w 2472101"/>
              <a:gd name="connsiteY7" fmla="*/ 702775 h 1444206"/>
              <a:gd name="connsiteX8" fmla="*/ 1444207 w 2472101"/>
              <a:gd name="connsiteY8" fmla="*/ 45596 h 1444206"/>
              <a:gd name="connsiteX9" fmla="*/ 1174595 w 2472101"/>
              <a:gd name="connsiteY9" fmla="*/ 0 h 1444206"/>
              <a:gd name="connsiteX10" fmla="*/ 421268 w 2472101"/>
              <a:gd name="connsiteY10" fmla="*/ 0 h 1444206"/>
              <a:gd name="connsiteX11" fmla="*/ 84254 w 2472101"/>
              <a:gd name="connsiteY11" fmla="*/ 463891 h 1444206"/>
              <a:gd name="connsiteX12" fmla="*/ 84254 w 2472101"/>
              <a:gd name="connsiteY12" fmla="*/ 699801 h 1444206"/>
              <a:gd name="connsiteX13" fmla="*/ 0 w 2472101"/>
              <a:gd name="connsiteY13" fmla="*/ 866326 h 1444206"/>
              <a:gd name="connsiteX14" fmla="*/ 16851 w 2472101"/>
              <a:gd name="connsiteY14" fmla="*/ 1114131 h 1444206"/>
              <a:gd name="connsiteX15" fmla="*/ 139762 w 2472101"/>
              <a:gd name="connsiteY15" fmla="*/ 1238033 h 1444206"/>
              <a:gd name="connsiteX16" fmla="*/ 179411 w 2472101"/>
              <a:gd name="connsiteY16" fmla="*/ 1238033 h 1444206"/>
              <a:gd name="connsiteX17" fmla="*/ 488671 w 2472101"/>
              <a:gd name="connsiteY17" fmla="*/ 928773 h 1444206"/>
              <a:gd name="connsiteX18" fmla="*/ 797932 w 2472101"/>
              <a:gd name="connsiteY18" fmla="*/ 1238033 h 1444206"/>
              <a:gd name="connsiteX19" fmla="*/ 1686065 w 2472101"/>
              <a:gd name="connsiteY19" fmla="*/ 1238033 h 1444206"/>
              <a:gd name="connsiteX20" fmla="*/ 1991360 w 2472101"/>
              <a:gd name="connsiteY20" fmla="*/ 932738 h 1444206"/>
              <a:gd name="connsiteX21" fmla="*/ 2296656 w 2472101"/>
              <a:gd name="connsiteY21" fmla="*/ 1238033 h 1444206"/>
              <a:gd name="connsiteX22" fmla="*/ 2360094 w 2472101"/>
              <a:gd name="connsiteY22" fmla="*/ 1238033 h 1444206"/>
              <a:gd name="connsiteX23" fmla="*/ 2472102 w 2472101"/>
              <a:gd name="connsiteY23" fmla="*/ 1126025 h 1444206"/>
              <a:gd name="connsiteX24" fmla="*/ 2472102 w 2472101"/>
              <a:gd name="connsiteY24" fmla="*/ 991220 h 1444206"/>
              <a:gd name="connsiteX25" fmla="*/ 2416593 w 2472101"/>
              <a:gd name="connsiteY25" fmla="*/ 871282 h 1444206"/>
              <a:gd name="connsiteX26" fmla="*/ 1934861 w 2472101"/>
              <a:gd name="connsiteY26" fmla="*/ 542197 h 1444206"/>
              <a:gd name="connsiteX27" fmla="*/ 618521 w 2472101"/>
              <a:gd name="connsiteY27" fmla="*/ 450014 h 1444206"/>
              <a:gd name="connsiteX28" fmla="*/ 708722 w 2472101"/>
              <a:gd name="connsiteY28" fmla="*/ 201218 h 1444206"/>
              <a:gd name="connsiteX29" fmla="*/ 836589 w 2472101"/>
              <a:gd name="connsiteY29" fmla="*/ 112999 h 1444206"/>
              <a:gd name="connsiteX30" fmla="*/ 1165674 w 2472101"/>
              <a:gd name="connsiteY30" fmla="*/ 112999 h 1444206"/>
              <a:gd name="connsiteX31" fmla="*/ 1411497 w 2472101"/>
              <a:gd name="connsiteY31" fmla="*/ 154630 h 1444206"/>
              <a:gd name="connsiteX32" fmla="*/ 1986404 w 2472101"/>
              <a:gd name="connsiteY32" fmla="*/ 491645 h 1444206"/>
              <a:gd name="connsiteX33" fmla="*/ 1934861 w 2472101"/>
              <a:gd name="connsiteY33" fmla="*/ 542197 h 1444206"/>
              <a:gd name="connsiteX34" fmla="*/ 1992351 w 2472101"/>
              <a:gd name="connsiteY34" fmla="*/ 1029877 h 1444206"/>
              <a:gd name="connsiteX35" fmla="*/ 1785186 w 2472101"/>
              <a:gd name="connsiteY35" fmla="*/ 1237042 h 1444206"/>
              <a:gd name="connsiteX36" fmla="*/ 1992351 w 2472101"/>
              <a:gd name="connsiteY36" fmla="*/ 1444207 h 1444206"/>
              <a:gd name="connsiteX37" fmla="*/ 2199516 w 2472101"/>
              <a:gd name="connsiteY37" fmla="*/ 1237042 h 1444206"/>
              <a:gd name="connsiteX38" fmla="*/ 1992351 w 2472101"/>
              <a:gd name="connsiteY38" fmla="*/ 1029877 h 1444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472101" h="1444206">
                <a:moveTo>
                  <a:pt x="489662" y="1029877"/>
                </a:moveTo>
                <a:cubicBezTo>
                  <a:pt x="375672" y="1029877"/>
                  <a:pt x="282498" y="1123052"/>
                  <a:pt x="282498" y="1237042"/>
                </a:cubicBezTo>
                <a:cubicBezTo>
                  <a:pt x="282498" y="1351032"/>
                  <a:pt x="375672" y="1444207"/>
                  <a:pt x="489662" y="1444207"/>
                </a:cubicBezTo>
                <a:cubicBezTo>
                  <a:pt x="603653" y="1444207"/>
                  <a:pt x="696827" y="1351032"/>
                  <a:pt x="696827" y="1237042"/>
                </a:cubicBezTo>
                <a:cubicBezTo>
                  <a:pt x="696827" y="1122061"/>
                  <a:pt x="603653" y="1029877"/>
                  <a:pt x="489662" y="1029877"/>
                </a:cubicBezTo>
                <a:close/>
                <a:moveTo>
                  <a:pt x="2416593" y="871282"/>
                </a:moveTo>
                <a:lnTo>
                  <a:pt x="2416593" y="871282"/>
                </a:lnTo>
                <a:lnTo>
                  <a:pt x="2416593" y="702775"/>
                </a:lnTo>
                <a:cubicBezTo>
                  <a:pt x="2218349" y="462900"/>
                  <a:pt x="1638486" y="127867"/>
                  <a:pt x="1444207" y="45596"/>
                </a:cubicBezTo>
                <a:cubicBezTo>
                  <a:pt x="1367883" y="12886"/>
                  <a:pt x="1318322" y="0"/>
                  <a:pt x="1174595" y="0"/>
                </a:cubicBezTo>
                <a:lnTo>
                  <a:pt x="421268" y="0"/>
                </a:lnTo>
                <a:lnTo>
                  <a:pt x="84254" y="463891"/>
                </a:lnTo>
                <a:lnTo>
                  <a:pt x="84254" y="699801"/>
                </a:lnTo>
                <a:lnTo>
                  <a:pt x="0" y="866326"/>
                </a:lnTo>
                <a:lnTo>
                  <a:pt x="16851" y="1114131"/>
                </a:lnTo>
                <a:cubicBezTo>
                  <a:pt x="23789" y="1189464"/>
                  <a:pt x="71368" y="1238033"/>
                  <a:pt x="139762" y="1238033"/>
                </a:cubicBezTo>
                <a:lnTo>
                  <a:pt x="179411" y="1238033"/>
                </a:lnTo>
                <a:cubicBezTo>
                  <a:pt x="179411" y="1067544"/>
                  <a:pt x="318181" y="928773"/>
                  <a:pt x="488671" y="928773"/>
                </a:cubicBezTo>
                <a:cubicBezTo>
                  <a:pt x="659161" y="928773"/>
                  <a:pt x="797932" y="1067544"/>
                  <a:pt x="797932" y="1238033"/>
                </a:cubicBezTo>
                <a:lnTo>
                  <a:pt x="1686065" y="1238033"/>
                </a:lnTo>
                <a:cubicBezTo>
                  <a:pt x="1686065" y="1069526"/>
                  <a:pt x="1822853" y="932738"/>
                  <a:pt x="1991360" y="932738"/>
                </a:cubicBezTo>
                <a:cubicBezTo>
                  <a:pt x="2159867" y="932738"/>
                  <a:pt x="2296656" y="1069526"/>
                  <a:pt x="2296656" y="1238033"/>
                </a:cubicBezTo>
                <a:lnTo>
                  <a:pt x="2360094" y="1238033"/>
                </a:lnTo>
                <a:cubicBezTo>
                  <a:pt x="2422541" y="1238033"/>
                  <a:pt x="2466154" y="1193428"/>
                  <a:pt x="2472102" y="1126025"/>
                </a:cubicBezTo>
                <a:lnTo>
                  <a:pt x="2472102" y="991220"/>
                </a:lnTo>
                <a:lnTo>
                  <a:pt x="2416593" y="871282"/>
                </a:lnTo>
                <a:close/>
                <a:moveTo>
                  <a:pt x="1934861" y="542197"/>
                </a:moveTo>
                <a:lnTo>
                  <a:pt x="618521" y="450014"/>
                </a:lnTo>
                <a:lnTo>
                  <a:pt x="708722" y="201218"/>
                </a:lnTo>
                <a:cubicBezTo>
                  <a:pt x="737467" y="132823"/>
                  <a:pt x="782072" y="118946"/>
                  <a:pt x="836589" y="112999"/>
                </a:cubicBezTo>
                <a:lnTo>
                  <a:pt x="1165674" y="112999"/>
                </a:lnTo>
                <a:cubicBezTo>
                  <a:pt x="1301471" y="112999"/>
                  <a:pt x="1342111" y="124894"/>
                  <a:pt x="1411497" y="154630"/>
                </a:cubicBezTo>
                <a:cubicBezTo>
                  <a:pt x="1525487" y="203200"/>
                  <a:pt x="1769327" y="339988"/>
                  <a:pt x="1986404" y="491645"/>
                </a:cubicBezTo>
                <a:lnTo>
                  <a:pt x="1934861" y="542197"/>
                </a:lnTo>
                <a:close/>
                <a:moveTo>
                  <a:pt x="1992351" y="1029877"/>
                </a:moveTo>
                <a:cubicBezTo>
                  <a:pt x="1878361" y="1029877"/>
                  <a:pt x="1785186" y="1123052"/>
                  <a:pt x="1785186" y="1237042"/>
                </a:cubicBezTo>
                <a:cubicBezTo>
                  <a:pt x="1785186" y="1351032"/>
                  <a:pt x="1878361" y="1444207"/>
                  <a:pt x="1992351" y="1444207"/>
                </a:cubicBezTo>
                <a:cubicBezTo>
                  <a:pt x="2106342" y="1444207"/>
                  <a:pt x="2199516" y="1351032"/>
                  <a:pt x="2199516" y="1237042"/>
                </a:cubicBezTo>
                <a:cubicBezTo>
                  <a:pt x="2199516" y="1122061"/>
                  <a:pt x="2106342" y="1029877"/>
                  <a:pt x="1992351" y="1029877"/>
                </a:cubicBezTo>
                <a:close/>
              </a:path>
            </a:pathLst>
          </a:custGeom>
          <a:solidFill>
            <a:schemeClr val="tx1"/>
          </a:solidFill>
          <a:ln w="99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Factory">
            <a:extLst>
              <a:ext uri="{FF2B5EF4-FFF2-40B4-BE49-F238E27FC236}">
                <a16:creationId xmlns:a16="http://schemas.microsoft.com/office/drawing/2014/main" id="{8759BB5D-3C0E-EB40-8104-6D5BB2E50652}"/>
              </a:ext>
            </a:extLst>
          </p:cNvPr>
          <p:cNvSpPr/>
          <p:nvPr/>
        </p:nvSpPr>
        <p:spPr>
          <a:xfrm>
            <a:off x="2710332" y="3012476"/>
            <a:ext cx="565791" cy="493116"/>
          </a:xfrm>
          <a:custGeom>
            <a:avLst/>
            <a:gdLst>
              <a:gd name="connsiteX0" fmla="*/ 1855563 w 2191586"/>
              <a:gd name="connsiteY0" fmla="*/ 0 h 1910080"/>
              <a:gd name="connsiteX1" fmla="*/ 1855563 w 2191586"/>
              <a:gd name="connsiteY1" fmla="*/ 785046 h 1910080"/>
              <a:gd name="connsiteX2" fmla="*/ 1237042 w 2191586"/>
              <a:gd name="connsiteY2" fmla="*/ 449022 h 1910080"/>
              <a:gd name="connsiteX3" fmla="*/ 1237042 w 2191586"/>
              <a:gd name="connsiteY3" fmla="*/ 785046 h 1910080"/>
              <a:gd name="connsiteX4" fmla="*/ 618521 w 2191586"/>
              <a:gd name="connsiteY4" fmla="*/ 449022 h 1910080"/>
              <a:gd name="connsiteX5" fmla="*/ 618521 w 2191586"/>
              <a:gd name="connsiteY5" fmla="*/ 785046 h 1910080"/>
              <a:gd name="connsiteX6" fmla="*/ 0 w 2191586"/>
              <a:gd name="connsiteY6" fmla="*/ 449022 h 1910080"/>
              <a:gd name="connsiteX7" fmla="*/ 0 w 2191586"/>
              <a:gd name="connsiteY7" fmla="*/ 1910080 h 1910080"/>
              <a:gd name="connsiteX8" fmla="*/ 2191587 w 2191586"/>
              <a:gd name="connsiteY8" fmla="*/ 1910080 h 1910080"/>
              <a:gd name="connsiteX9" fmla="*/ 2191587 w 2191586"/>
              <a:gd name="connsiteY9" fmla="*/ 0 h 1910080"/>
              <a:gd name="connsiteX10" fmla="*/ 1855563 w 2191586"/>
              <a:gd name="connsiteY10" fmla="*/ 0 h 1910080"/>
              <a:gd name="connsiteX11" fmla="*/ 1855563 w 2191586"/>
              <a:gd name="connsiteY11" fmla="*/ 1629565 h 1910080"/>
              <a:gd name="connsiteX12" fmla="*/ 338006 w 2191586"/>
              <a:gd name="connsiteY12" fmla="*/ 1629565 h 1910080"/>
              <a:gd name="connsiteX13" fmla="*/ 338006 w 2191586"/>
              <a:gd name="connsiteY13" fmla="*/ 1461058 h 1910080"/>
              <a:gd name="connsiteX14" fmla="*/ 1855563 w 2191586"/>
              <a:gd name="connsiteY14" fmla="*/ 1461058 h 1910080"/>
              <a:gd name="connsiteX15" fmla="*/ 1855563 w 2191586"/>
              <a:gd name="connsiteY15" fmla="*/ 1629565 h 1910080"/>
              <a:gd name="connsiteX16" fmla="*/ 1855563 w 2191586"/>
              <a:gd name="connsiteY16" fmla="*/ 1292550 h 1910080"/>
              <a:gd name="connsiteX17" fmla="*/ 338006 w 2191586"/>
              <a:gd name="connsiteY17" fmla="*/ 1292550 h 1910080"/>
              <a:gd name="connsiteX18" fmla="*/ 338006 w 2191586"/>
              <a:gd name="connsiteY18" fmla="*/ 1124043 h 1910080"/>
              <a:gd name="connsiteX19" fmla="*/ 1855563 w 2191586"/>
              <a:gd name="connsiteY19" fmla="*/ 1124043 h 1910080"/>
              <a:gd name="connsiteX20" fmla="*/ 1855563 w 2191586"/>
              <a:gd name="connsiteY20" fmla="*/ 1292550 h 191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1586" h="1910080">
                <a:moveTo>
                  <a:pt x="1855563" y="0"/>
                </a:moveTo>
                <a:lnTo>
                  <a:pt x="1855563" y="785046"/>
                </a:lnTo>
                <a:lnTo>
                  <a:pt x="1237042" y="449022"/>
                </a:lnTo>
                <a:lnTo>
                  <a:pt x="1237042" y="785046"/>
                </a:lnTo>
                <a:lnTo>
                  <a:pt x="618521" y="449022"/>
                </a:lnTo>
                <a:lnTo>
                  <a:pt x="618521" y="785046"/>
                </a:lnTo>
                <a:lnTo>
                  <a:pt x="0" y="449022"/>
                </a:lnTo>
                <a:lnTo>
                  <a:pt x="0" y="1910080"/>
                </a:lnTo>
                <a:lnTo>
                  <a:pt x="2191587" y="1910080"/>
                </a:lnTo>
                <a:lnTo>
                  <a:pt x="2191587" y="0"/>
                </a:lnTo>
                <a:lnTo>
                  <a:pt x="1855563" y="0"/>
                </a:lnTo>
                <a:close/>
                <a:moveTo>
                  <a:pt x="1855563" y="1629565"/>
                </a:moveTo>
                <a:lnTo>
                  <a:pt x="338006" y="1629565"/>
                </a:lnTo>
                <a:lnTo>
                  <a:pt x="338006" y="1461058"/>
                </a:lnTo>
                <a:lnTo>
                  <a:pt x="1855563" y="1461058"/>
                </a:lnTo>
                <a:lnTo>
                  <a:pt x="1855563" y="1629565"/>
                </a:lnTo>
                <a:close/>
                <a:moveTo>
                  <a:pt x="1855563" y="1292550"/>
                </a:moveTo>
                <a:lnTo>
                  <a:pt x="338006" y="1292550"/>
                </a:lnTo>
                <a:lnTo>
                  <a:pt x="338006" y="1124043"/>
                </a:lnTo>
                <a:lnTo>
                  <a:pt x="1855563" y="1124043"/>
                </a:lnTo>
                <a:lnTo>
                  <a:pt x="1855563" y="1292550"/>
                </a:lnTo>
                <a:close/>
              </a:path>
            </a:pathLst>
          </a:custGeom>
          <a:solidFill>
            <a:schemeClr val="tx1"/>
          </a:solidFill>
          <a:ln w="99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Boat">
            <a:extLst>
              <a:ext uri="{FF2B5EF4-FFF2-40B4-BE49-F238E27FC236}">
                <a16:creationId xmlns:a16="http://schemas.microsoft.com/office/drawing/2014/main" id="{8FE4ED11-C5F1-094B-BEF1-B0A777DF71DF}"/>
              </a:ext>
            </a:extLst>
          </p:cNvPr>
          <p:cNvSpPr/>
          <p:nvPr/>
        </p:nvSpPr>
        <p:spPr>
          <a:xfrm>
            <a:off x="4219162" y="3075560"/>
            <a:ext cx="943833" cy="421803"/>
          </a:xfrm>
          <a:custGeom>
            <a:avLst/>
            <a:gdLst>
              <a:gd name="connsiteX0" fmla="*/ 730529 w 2641600"/>
              <a:gd name="connsiteY0" fmla="*/ 675021 h 1180542"/>
              <a:gd name="connsiteX1" fmla="*/ 730529 w 2641600"/>
              <a:gd name="connsiteY1" fmla="*/ 112999 h 1180542"/>
              <a:gd name="connsiteX2" fmla="*/ 112999 w 2641600"/>
              <a:gd name="connsiteY2" fmla="*/ 112999 h 1180542"/>
              <a:gd name="connsiteX3" fmla="*/ 112999 w 2641600"/>
              <a:gd name="connsiteY3" fmla="*/ 675021 h 1180542"/>
              <a:gd name="connsiteX4" fmla="*/ 0 w 2641600"/>
              <a:gd name="connsiteY4" fmla="*/ 675021 h 1180542"/>
              <a:gd name="connsiteX5" fmla="*/ 0 w 2641600"/>
              <a:gd name="connsiteY5" fmla="*/ 1180543 h 1180542"/>
              <a:gd name="connsiteX6" fmla="*/ 2330357 w 2641600"/>
              <a:gd name="connsiteY6" fmla="*/ 1180543 h 1180542"/>
              <a:gd name="connsiteX7" fmla="*/ 2521663 w 2641600"/>
              <a:gd name="connsiteY7" fmla="*/ 957518 h 1180542"/>
              <a:gd name="connsiteX8" fmla="*/ 2641600 w 2641600"/>
              <a:gd name="connsiteY8" fmla="*/ 675021 h 1180542"/>
              <a:gd name="connsiteX9" fmla="*/ 730529 w 2641600"/>
              <a:gd name="connsiteY9" fmla="*/ 675021 h 1180542"/>
              <a:gd name="connsiteX10" fmla="*/ 393514 w 2641600"/>
              <a:gd name="connsiteY10" fmla="*/ 338006 h 1180542"/>
              <a:gd name="connsiteX11" fmla="*/ 281506 w 2641600"/>
              <a:gd name="connsiteY11" fmla="*/ 338006 h 1180542"/>
              <a:gd name="connsiteX12" fmla="*/ 281506 w 2641600"/>
              <a:gd name="connsiteY12" fmla="*/ 225998 h 1180542"/>
              <a:gd name="connsiteX13" fmla="*/ 393514 w 2641600"/>
              <a:gd name="connsiteY13" fmla="*/ 225998 h 1180542"/>
              <a:gd name="connsiteX14" fmla="*/ 393514 w 2641600"/>
              <a:gd name="connsiteY14" fmla="*/ 338006 h 1180542"/>
              <a:gd name="connsiteX15" fmla="*/ 618521 w 2641600"/>
              <a:gd name="connsiteY15" fmla="*/ 338006 h 1180542"/>
              <a:gd name="connsiteX16" fmla="*/ 505522 w 2641600"/>
              <a:gd name="connsiteY16" fmla="*/ 338006 h 1180542"/>
              <a:gd name="connsiteX17" fmla="*/ 505522 w 2641600"/>
              <a:gd name="connsiteY17" fmla="*/ 225998 h 1180542"/>
              <a:gd name="connsiteX18" fmla="*/ 617530 w 2641600"/>
              <a:gd name="connsiteY18" fmla="*/ 225998 h 1180542"/>
              <a:gd name="connsiteX19" fmla="*/ 617530 w 2641600"/>
              <a:gd name="connsiteY19" fmla="*/ 338006 h 1180542"/>
              <a:gd name="connsiteX20" fmla="*/ 1349050 w 2641600"/>
              <a:gd name="connsiteY20" fmla="*/ 562021 h 1180542"/>
              <a:gd name="connsiteX21" fmla="*/ 899036 w 2641600"/>
              <a:gd name="connsiteY21" fmla="*/ 562021 h 1180542"/>
              <a:gd name="connsiteX22" fmla="*/ 899036 w 2641600"/>
              <a:gd name="connsiteY22" fmla="*/ 450014 h 1180542"/>
              <a:gd name="connsiteX23" fmla="*/ 1067543 w 2641600"/>
              <a:gd name="connsiteY23" fmla="*/ 231945 h 1180542"/>
              <a:gd name="connsiteX24" fmla="*/ 1067543 w 2641600"/>
              <a:gd name="connsiteY24" fmla="*/ 0 h 1180542"/>
              <a:gd name="connsiteX25" fmla="*/ 2303594 w 2641600"/>
              <a:gd name="connsiteY25" fmla="*/ 0 h 1180542"/>
              <a:gd name="connsiteX26" fmla="*/ 2303594 w 2641600"/>
              <a:gd name="connsiteY26" fmla="*/ 231945 h 1180542"/>
              <a:gd name="connsiteX27" fmla="*/ 2472102 w 2641600"/>
              <a:gd name="connsiteY27" fmla="*/ 450014 h 1180542"/>
              <a:gd name="connsiteX28" fmla="*/ 2472102 w 2641600"/>
              <a:gd name="connsiteY28" fmla="*/ 562021 h 1180542"/>
              <a:gd name="connsiteX29" fmla="*/ 2022088 w 2641600"/>
              <a:gd name="connsiteY29" fmla="*/ 562021 h 1180542"/>
              <a:gd name="connsiteX30" fmla="*/ 2022088 w 2641600"/>
              <a:gd name="connsiteY30" fmla="*/ 450014 h 1180542"/>
              <a:gd name="connsiteX31" fmla="*/ 2190595 w 2641600"/>
              <a:gd name="connsiteY31" fmla="*/ 231945 h 1180542"/>
              <a:gd name="connsiteX32" fmla="*/ 2190595 w 2641600"/>
              <a:gd name="connsiteY32" fmla="*/ 112008 h 1180542"/>
              <a:gd name="connsiteX33" fmla="*/ 1740582 w 2641600"/>
              <a:gd name="connsiteY33" fmla="*/ 112008 h 1180542"/>
              <a:gd name="connsiteX34" fmla="*/ 1740582 w 2641600"/>
              <a:gd name="connsiteY34" fmla="*/ 231945 h 1180542"/>
              <a:gd name="connsiteX35" fmla="*/ 1909089 w 2641600"/>
              <a:gd name="connsiteY35" fmla="*/ 450014 h 1180542"/>
              <a:gd name="connsiteX36" fmla="*/ 1909089 w 2641600"/>
              <a:gd name="connsiteY36" fmla="*/ 562021 h 1180542"/>
              <a:gd name="connsiteX37" fmla="*/ 1459075 w 2641600"/>
              <a:gd name="connsiteY37" fmla="*/ 562021 h 1180542"/>
              <a:gd name="connsiteX38" fmla="*/ 1459075 w 2641600"/>
              <a:gd name="connsiteY38" fmla="*/ 450014 h 1180542"/>
              <a:gd name="connsiteX39" fmla="*/ 1627582 w 2641600"/>
              <a:gd name="connsiteY39" fmla="*/ 231945 h 1180542"/>
              <a:gd name="connsiteX40" fmla="*/ 1627582 w 2641600"/>
              <a:gd name="connsiteY40" fmla="*/ 112008 h 1180542"/>
              <a:gd name="connsiteX41" fmla="*/ 1177569 w 2641600"/>
              <a:gd name="connsiteY41" fmla="*/ 112008 h 1180542"/>
              <a:gd name="connsiteX42" fmla="*/ 1177569 w 2641600"/>
              <a:gd name="connsiteY42" fmla="*/ 231945 h 1180542"/>
              <a:gd name="connsiteX43" fmla="*/ 1346076 w 2641600"/>
              <a:gd name="connsiteY43" fmla="*/ 450014 h 1180542"/>
              <a:gd name="connsiteX44" fmla="*/ 1349050 w 2641600"/>
              <a:gd name="connsiteY44" fmla="*/ 562021 h 1180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641600" h="1180542">
                <a:moveTo>
                  <a:pt x="730529" y="675021"/>
                </a:moveTo>
                <a:lnTo>
                  <a:pt x="730529" y="112999"/>
                </a:lnTo>
                <a:lnTo>
                  <a:pt x="112999" y="112999"/>
                </a:lnTo>
                <a:lnTo>
                  <a:pt x="112999" y="675021"/>
                </a:lnTo>
                <a:lnTo>
                  <a:pt x="0" y="675021"/>
                </a:lnTo>
                <a:lnTo>
                  <a:pt x="0" y="1180543"/>
                </a:lnTo>
                <a:lnTo>
                  <a:pt x="2330357" y="1180543"/>
                </a:lnTo>
                <a:cubicBezTo>
                  <a:pt x="2403707" y="1115122"/>
                  <a:pt x="2457233" y="1063579"/>
                  <a:pt x="2521663" y="957518"/>
                </a:cubicBezTo>
                <a:cubicBezTo>
                  <a:pt x="2596995" y="834607"/>
                  <a:pt x="2641600" y="724582"/>
                  <a:pt x="2641600" y="675021"/>
                </a:cubicBezTo>
                <a:lnTo>
                  <a:pt x="730529" y="675021"/>
                </a:lnTo>
                <a:close/>
                <a:moveTo>
                  <a:pt x="393514" y="338006"/>
                </a:moveTo>
                <a:lnTo>
                  <a:pt x="281506" y="338006"/>
                </a:lnTo>
                <a:lnTo>
                  <a:pt x="281506" y="225998"/>
                </a:lnTo>
                <a:lnTo>
                  <a:pt x="393514" y="225998"/>
                </a:lnTo>
                <a:lnTo>
                  <a:pt x="393514" y="338006"/>
                </a:lnTo>
                <a:close/>
                <a:moveTo>
                  <a:pt x="618521" y="338006"/>
                </a:moveTo>
                <a:lnTo>
                  <a:pt x="505522" y="338006"/>
                </a:lnTo>
                <a:lnTo>
                  <a:pt x="505522" y="225998"/>
                </a:lnTo>
                <a:lnTo>
                  <a:pt x="617530" y="225998"/>
                </a:lnTo>
                <a:lnTo>
                  <a:pt x="617530" y="338006"/>
                </a:lnTo>
                <a:close/>
                <a:moveTo>
                  <a:pt x="1349050" y="562021"/>
                </a:moveTo>
                <a:lnTo>
                  <a:pt x="899036" y="562021"/>
                </a:lnTo>
                <a:lnTo>
                  <a:pt x="899036" y="450014"/>
                </a:lnTo>
                <a:cubicBezTo>
                  <a:pt x="899036" y="344944"/>
                  <a:pt x="970404" y="257717"/>
                  <a:pt x="1067543" y="231945"/>
                </a:cubicBezTo>
                <a:lnTo>
                  <a:pt x="1067543" y="0"/>
                </a:lnTo>
                <a:lnTo>
                  <a:pt x="2303594" y="0"/>
                </a:lnTo>
                <a:lnTo>
                  <a:pt x="2303594" y="231945"/>
                </a:lnTo>
                <a:cubicBezTo>
                  <a:pt x="2400734" y="256726"/>
                  <a:pt x="2472102" y="344944"/>
                  <a:pt x="2472102" y="450014"/>
                </a:cubicBezTo>
                <a:lnTo>
                  <a:pt x="2472102" y="562021"/>
                </a:lnTo>
                <a:lnTo>
                  <a:pt x="2022088" y="562021"/>
                </a:lnTo>
                <a:lnTo>
                  <a:pt x="2022088" y="450014"/>
                </a:lnTo>
                <a:cubicBezTo>
                  <a:pt x="2022088" y="344944"/>
                  <a:pt x="2093456" y="257717"/>
                  <a:pt x="2190595" y="231945"/>
                </a:cubicBezTo>
                <a:lnTo>
                  <a:pt x="2190595" y="112008"/>
                </a:lnTo>
                <a:lnTo>
                  <a:pt x="1740582" y="112008"/>
                </a:lnTo>
                <a:lnTo>
                  <a:pt x="1740582" y="231945"/>
                </a:lnTo>
                <a:cubicBezTo>
                  <a:pt x="1837721" y="256726"/>
                  <a:pt x="1909089" y="344944"/>
                  <a:pt x="1909089" y="450014"/>
                </a:cubicBezTo>
                <a:lnTo>
                  <a:pt x="1909089" y="562021"/>
                </a:lnTo>
                <a:lnTo>
                  <a:pt x="1459075" y="562021"/>
                </a:lnTo>
                <a:lnTo>
                  <a:pt x="1459075" y="450014"/>
                </a:lnTo>
                <a:cubicBezTo>
                  <a:pt x="1459075" y="344944"/>
                  <a:pt x="1530443" y="257717"/>
                  <a:pt x="1627582" y="231945"/>
                </a:cubicBezTo>
                <a:lnTo>
                  <a:pt x="1627582" y="112008"/>
                </a:lnTo>
                <a:lnTo>
                  <a:pt x="1177569" y="112008"/>
                </a:lnTo>
                <a:lnTo>
                  <a:pt x="1177569" y="231945"/>
                </a:lnTo>
                <a:cubicBezTo>
                  <a:pt x="1274708" y="256726"/>
                  <a:pt x="1346076" y="344944"/>
                  <a:pt x="1346076" y="450014"/>
                </a:cubicBezTo>
                <a:lnTo>
                  <a:pt x="1349050" y="562021"/>
                </a:lnTo>
                <a:close/>
              </a:path>
            </a:pathLst>
          </a:custGeom>
          <a:solidFill>
            <a:schemeClr val="tx1"/>
          </a:solidFill>
          <a:ln w="99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Gas">
            <a:extLst>
              <a:ext uri="{FF2B5EF4-FFF2-40B4-BE49-F238E27FC236}">
                <a16:creationId xmlns:a16="http://schemas.microsoft.com/office/drawing/2014/main" id="{553C55D8-B415-1040-ABBB-A47866B8CD08}"/>
              </a:ext>
            </a:extLst>
          </p:cNvPr>
          <p:cNvSpPr/>
          <p:nvPr/>
        </p:nvSpPr>
        <p:spPr>
          <a:xfrm>
            <a:off x="7696153" y="3073718"/>
            <a:ext cx="452798" cy="452719"/>
          </a:xfrm>
          <a:custGeom>
            <a:avLst/>
            <a:gdLst>
              <a:gd name="connsiteX0" fmla="*/ 102427 w 1910743"/>
              <a:gd name="connsiteY0" fmla="*/ 1108844 h 1910410"/>
              <a:gd name="connsiteX1" fmla="*/ 16191 w 1910743"/>
              <a:gd name="connsiteY1" fmla="*/ 730198 h 1910410"/>
              <a:gd name="connsiteX2" fmla="*/ 374022 w 1910743"/>
              <a:gd name="connsiteY2" fmla="*/ 857074 h 1910410"/>
              <a:gd name="connsiteX3" fmla="*/ 366092 w 1910743"/>
              <a:gd name="connsiteY3" fmla="*/ 954214 h 1910410"/>
              <a:gd name="connsiteX4" fmla="*/ 374022 w 1910743"/>
              <a:gd name="connsiteY4" fmla="*/ 1051354 h 1910410"/>
              <a:gd name="connsiteX5" fmla="*/ 102427 w 1910743"/>
              <a:gd name="connsiteY5" fmla="*/ 1108844 h 1910410"/>
              <a:gd name="connsiteX6" fmla="*/ 748703 w 1910743"/>
              <a:gd name="connsiteY6" fmla="*/ 403096 h 1910410"/>
              <a:gd name="connsiteX7" fmla="*/ 680308 w 1910743"/>
              <a:gd name="connsiteY7" fmla="*/ 29406 h 1910410"/>
              <a:gd name="connsiteX8" fmla="*/ 395828 w 1910743"/>
              <a:gd name="connsiteY8" fmla="*/ 294062 h 1910410"/>
              <a:gd name="connsiteX9" fmla="*/ 580195 w 1910743"/>
              <a:gd name="connsiteY9" fmla="*/ 501227 h 1910410"/>
              <a:gd name="connsiteX10" fmla="*/ 748703 w 1910743"/>
              <a:gd name="connsiteY10" fmla="*/ 403096 h 1910410"/>
              <a:gd name="connsiteX11" fmla="*/ 402767 w 1910743"/>
              <a:gd name="connsiteY11" fmla="*/ 749032 h 1910410"/>
              <a:gd name="connsiteX12" fmla="*/ 499907 w 1910743"/>
              <a:gd name="connsiteY12" fmla="*/ 580524 h 1910410"/>
              <a:gd name="connsiteX13" fmla="*/ 253093 w 1910743"/>
              <a:gd name="connsiteY13" fmla="*/ 291088 h 1910410"/>
              <a:gd name="connsiteX14" fmla="*/ 139103 w 1910743"/>
              <a:gd name="connsiteY14" fmla="*/ 661804 h 1910410"/>
              <a:gd name="connsiteX15" fmla="*/ 402767 w 1910743"/>
              <a:gd name="connsiteY15" fmla="*/ 749032 h 1910410"/>
              <a:gd name="connsiteX16" fmla="*/ 955868 w 1910743"/>
              <a:gd name="connsiteY16" fmla="*/ 365430 h 1910410"/>
              <a:gd name="connsiteX17" fmla="*/ 1053007 w 1910743"/>
              <a:gd name="connsiteY17" fmla="*/ 373359 h 1910410"/>
              <a:gd name="connsiteX18" fmla="*/ 1179883 w 1910743"/>
              <a:gd name="connsiteY18" fmla="*/ 15529 h 1910410"/>
              <a:gd name="connsiteX19" fmla="*/ 801237 w 1910743"/>
              <a:gd name="connsiteY19" fmla="*/ 101765 h 1910410"/>
              <a:gd name="connsiteX20" fmla="*/ 857737 w 1910743"/>
              <a:gd name="connsiteY20" fmla="*/ 373359 h 1910410"/>
              <a:gd name="connsiteX21" fmla="*/ 955868 w 1910743"/>
              <a:gd name="connsiteY21" fmla="*/ 365430 h 1910410"/>
              <a:gd name="connsiteX22" fmla="*/ 580195 w 1910743"/>
              <a:gd name="connsiteY22" fmla="*/ 1410175 h 1910410"/>
              <a:gd name="connsiteX23" fmla="*/ 290759 w 1910743"/>
              <a:gd name="connsiteY23" fmla="*/ 1656989 h 1910410"/>
              <a:gd name="connsiteX24" fmla="*/ 661475 w 1910743"/>
              <a:gd name="connsiteY24" fmla="*/ 1770979 h 1910410"/>
              <a:gd name="connsiteX25" fmla="*/ 748703 w 1910743"/>
              <a:gd name="connsiteY25" fmla="*/ 1508306 h 1910410"/>
              <a:gd name="connsiteX26" fmla="*/ 580195 w 1910743"/>
              <a:gd name="connsiteY26" fmla="*/ 1410175 h 1910410"/>
              <a:gd name="connsiteX27" fmla="*/ 1330549 w 1910743"/>
              <a:gd name="connsiteY27" fmla="*/ 500235 h 1910410"/>
              <a:gd name="connsiteX28" fmla="*/ 1619985 w 1910743"/>
              <a:gd name="connsiteY28" fmla="*/ 253422 h 1910410"/>
              <a:gd name="connsiteX29" fmla="*/ 1249268 w 1910743"/>
              <a:gd name="connsiteY29" fmla="*/ 139432 h 1910410"/>
              <a:gd name="connsiteX30" fmla="*/ 1162041 w 1910743"/>
              <a:gd name="connsiteY30" fmla="*/ 402105 h 1910410"/>
              <a:gd name="connsiteX31" fmla="*/ 1330549 w 1910743"/>
              <a:gd name="connsiteY31" fmla="*/ 500235 h 1910410"/>
              <a:gd name="connsiteX32" fmla="*/ 500898 w 1910743"/>
              <a:gd name="connsiteY32" fmla="*/ 1330877 h 1910410"/>
              <a:gd name="connsiteX33" fmla="*/ 403758 w 1910743"/>
              <a:gd name="connsiteY33" fmla="*/ 1162370 h 1910410"/>
              <a:gd name="connsiteX34" fmla="*/ 30068 w 1910743"/>
              <a:gd name="connsiteY34" fmla="*/ 1231756 h 1910410"/>
              <a:gd name="connsiteX35" fmla="*/ 294724 w 1910743"/>
              <a:gd name="connsiteY35" fmla="*/ 1516236 h 1910410"/>
              <a:gd name="connsiteX36" fmla="*/ 500898 w 1910743"/>
              <a:gd name="connsiteY36" fmla="*/ 1330877 h 1910410"/>
              <a:gd name="connsiteX37" fmla="*/ 1808316 w 1910743"/>
              <a:gd name="connsiteY37" fmla="*/ 801566 h 1910410"/>
              <a:gd name="connsiteX38" fmla="*/ 1536722 w 1910743"/>
              <a:gd name="connsiteY38" fmla="*/ 858066 h 1910410"/>
              <a:gd name="connsiteX39" fmla="*/ 1544652 w 1910743"/>
              <a:gd name="connsiteY39" fmla="*/ 956196 h 1910410"/>
              <a:gd name="connsiteX40" fmla="*/ 1536722 w 1910743"/>
              <a:gd name="connsiteY40" fmla="*/ 1053336 h 1910410"/>
              <a:gd name="connsiteX41" fmla="*/ 1894552 w 1910743"/>
              <a:gd name="connsiteY41" fmla="*/ 1180212 h 1910410"/>
              <a:gd name="connsiteX42" fmla="*/ 1808316 w 1910743"/>
              <a:gd name="connsiteY42" fmla="*/ 801566 h 1910410"/>
              <a:gd name="connsiteX43" fmla="*/ 1409846 w 1910743"/>
              <a:gd name="connsiteY43" fmla="*/ 580524 h 1910410"/>
              <a:gd name="connsiteX44" fmla="*/ 1507977 w 1910743"/>
              <a:gd name="connsiteY44" fmla="*/ 749032 h 1910410"/>
              <a:gd name="connsiteX45" fmla="*/ 1881667 w 1910743"/>
              <a:gd name="connsiteY45" fmla="*/ 680637 h 1910410"/>
              <a:gd name="connsiteX46" fmla="*/ 1617011 w 1910743"/>
              <a:gd name="connsiteY46" fmla="*/ 396157 h 1910410"/>
              <a:gd name="connsiteX47" fmla="*/ 1409846 w 1910743"/>
              <a:gd name="connsiteY47" fmla="*/ 580524 h 1910410"/>
              <a:gd name="connsiteX48" fmla="*/ 1507977 w 1910743"/>
              <a:gd name="connsiteY48" fmla="*/ 1161379 h 1910410"/>
              <a:gd name="connsiteX49" fmla="*/ 1410837 w 1910743"/>
              <a:gd name="connsiteY49" fmla="*/ 1329886 h 1910410"/>
              <a:gd name="connsiteX50" fmla="*/ 1657651 w 1910743"/>
              <a:gd name="connsiteY50" fmla="*/ 1619322 h 1910410"/>
              <a:gd name="connsiteX51" fmla="*/ 1771641 w 1910743"/>
              <a:gd name="connsiteY51" fmla="*/ 1248606 h 1910410"/>
              <a:gd name="connsiteX52" fmla="*/ 1507977 w 1910743"/>
              <a:gd name="connsiteY52" fmla="*/ 1161379 h 1910410"/>
              <a:gd name="connsiteX53" fmla="*/ 955868 w 1910743"/>
              <a:gd name="connsiteY53" fmla="*/ 1544981 h 1910410"/>
              <a:gd name="connsiteX54" fmla="*/ 858728 w 1910743"/>
              <a:gd name="connsiteY54" fmla="*/ 1537051 h 1910410"/>
              <a:gd name="connsiteX55" fmla="*/ 731852 w 1910743"/>
              <a:gd name="connsiteY55" fmla="*/ 1894881 h 1910410"/>
              <a:gd name="connsiteX56" fmla="*/ 1110498 w 1910743"/>
              <a:gd name="connsiteY56" fmla="*/ 1808645 h 1910410"/>
              <a:gd name="connsiteX57" fmla="*/ 1053998 w 1910743"/>
              <a:gd name="connsiteY57" fmla="*/ 1537051 h 1910410"/>
              <a:gd name="connsiteX58" fmla="*/ 955868 w 1910743"/>
              <a:gd name="connsiteY58" fmla="*/ 1544981 h 1910410"/>
              <a:gd name="connsiteX59" fmla="*/ 1162041 w 1910743"/>
              <a:gd name="connsiteY59" fmla="*/ 1508306 h 1910410"/>
              <a:gd name="connsiteX60" fmla="*/ 1230435 w 1910743"/>
              <a:gd name="connsiteY60" fmla="*/ 1881995 h 1910410"/>
              <a:gd name="connsiteX61" fmla="*/ 1514915 w 1910743"/>
              <a:gd name="connsiteY61" fmla="*/ 1618331 h 1910410"/>
              <a:gd name="connsiteX62" fmla="*/ 1330549 w 1910743"/>
              <a:gd name="connsiteY62" fmla="*/ 1411166 h 1910410"/>
              <a:gd name="connsiteX63" fmla="*/ 1162041 w 1910743"/>
              <a:gd name="connsiteY63" fmla="*/ 1508306 h 1910410"/>
              <a:gd name="connsiteX64" fmla="*/ 1432644 w 1910743"/>
              <a:gd name="connsiteY64" fmla="*/ 955205 h 1910410"/>
              <a:gd name="connsiteX65" fmla="*/ 954876 w 1910743"/>
              <a:gd name="connsiteY65" fmla="*/ 1432973 h 1910410"/>
              <a:gd name="connsiteX66" fmla="*/ 477108 w 1910743"/>
              <a:gd name="connsiteY66" fmla="*/ 955205 h 1910410"/>
              <a:gd name="connsiteX67" fmla="*/ 954876 w 1910743"/>
              <a:gd name="connsiteY67" fmla="*/ 477437 h 1910410"/>
              <a:gd name="connsiteX68" fmla="*/ 1432644 w 1910743"/>
              <a:gd name="connsiteY68" fmla="*/ 955205 h 1910410"/>
              <a:gd name="connsiteX69" fmla="*/ 1067875 w 1910743"/>
              <a:gd name="connsiteY69" fmla="*/ 955205 h 1910410"/>
              <a:gd name="connsiteX70" fmla="*/ 955868 w 1910743"/>
              <a:gd name="connsiteY70" fmla="*/ 843197 h 1910410"/>
              <a:gd name="connsiteX71" fmla="*/ 843860 w 1910743"/>
              <a:gd name="connsiteY71" fmla="*/ 955205 h 1910410"/>
              <a:gd name="connsiteX72" fmla="*/ 955868 w 1910743"/>
              <a:gd name="connsiteY72" fmla="*/ 1067213 h 1910410"/>
              <a:gd name="connsiteX73" fmla="*/ 1067875 w 1910743"/>
              <a:gd name="connsiteY73" fmla="*/ 955205 h 191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1910743" h="1910410">
                <a:moveTo>
                  <a:pt x="102427" y="1108844"/>
                </a:moveTo>
                <a:cubicBezTo>
                  <a:pt x="-13545" y="969082"/>
                  <a:pt x="-12554" y="838241"/>
                  <a:pt x="16191" y="730198"/>
                </a:cubicBezTo>
                <a:cubicBezTo>
                  <a:pt x="137120" y="785707"/>
                  <a:pt x="263005" y="827338"/>
                  <a:pt x="374022" y="857074"/>
                </a:cubicBezTo>
                <a:cubicBezTo>
                  <a:pt x="369065" y="888793"/>
                  <a:pt x="366092" y="921504"/>
                  <a:pt x="366092" y="954214"/>
                </a:cubicBezTo>
                <a:cubicBezTo>
                  <a:pt x="366092" y="987915"/>
                  <a:pt x="369065" y="1019634"/>
                  <a:pt x="374022" y="1051354"/>
                </a:cubicBezTo>
                <a:cubicBezTo>
                  <a:pt x="290759" y="1075143"/>
                  <a:pt x="197585" y="1095958"/>
                  <a:pt x="102427" y="1108844"/>
                </a:cubicBezTo>
                <a:close/>
                <a:moveTo>
                  <a:pt x="748703" y="403096"/>
                </a:moveTo>
                <a:cubicBezTo>
                  <a:pt x="718966" y="291088"/>
                  <a:pt x="692203" y="162230"/>
                  <a:pt x="680308" y="29406"/>
                </a:cubicBezTo>
                <a:cubicBezTo>
                  <a:pt x="573257" y="59143"/>
                  <a:pt x="459266" y="123572"/>
                  <a:pt x="395828" y="294062"/>
                </a:cubicBezTo>
                <a:cubicBezTo>
                  <a:pt x="455302" y="370386"/>
                  <a:pt x="519731" y="440762"/>
                  <a:pt x="580195" y="501227"/>
                </a:cubicBezTo>
                <a:cubicBezTo>
                  <a:pt x="629756" y="459595"/>
                  <a:pt x="687247" y="425894"/>
                  <a:pt x="748703" y="403096"/>
                </a:cubicBezTo>
                <a:close/>
                <a:moveTo>
                  <a:pt x="402767" y="749032"/>
                </a:moveTo>
                <a:cubicBezTo>
                  <a:pt x="425565" y="687576"/>
                  <a:pt x="459266" y="630085"/>
                  <a:pt x="499907" y="580524"/>
                </a:cubicBezTo>
                <a:cubicBezTo>
                  <a:pt x="418627" y="498253"/>
                  <a:pt x="329417" y="400122"/>
                  <a:pt x="253093" y="291088"/>
                </a:cubicBezTo>
                <a:cubicBezTo>
                  <a:pt x="175778" y="370386"/>
                  <a:pt x="108375" y="482393"/>
                  <a:pt x="139103" y="661804"/>
                </a:cubicBezTo>
                <a:cubicBezTo>
                  <a:pt x="229304" y="698479"/>
                  <a:pt x="320496" y="727225"/>
                  <a:pt x="402767" y="749032"/>
                </a:cubicBezTo>
                <a:close/>
                <a:moveTo>
                  <a:pt x="955868" y="365430"/>
                </a:moveTo>
                <a:cubicBezTo>
                  <a:pt x="988578" y="365430"/>
                  <a:pt x="1021288" y="368403"/>
                  <a:pt x="1053007" y="373359"/>
                </a:cubicBezTo>
                <a:cubicBezTo>
                  <a:pt x="1082744" y="261352"/>
                  <a:pt x="1124375" y="135467"/>
                  <a:pt x="1179883" y="15529"/>
                </a:cubicBezTo>
                <a:cubicBezTo>
                  <a:pt x="1072831" y="-12225"/>
                  <a:pt x="941990" y="-13216"/>
                  <a:pt x="801237" y="101765"/>
                </a:cubicBezTo>
                <a:cubicBezTo>
                  <a:pt x="815114" y="197914"/>
                  <a:pt x="834939" y="290097"/>
                  <a:pt x="857737" y="373359"/>
                </a:cubicBezTo>
                <a:cubicBezTo>
                  <a:pt x="889456" y="368403"/>
                  <a:pt x="922166" y="365430"/>
                  <a:pt x="955868" y="365430"/>
                </a:cubicBezTo>
                <a:close/>
                <a:moveTo>
                  <a:pt x="580195" y="1410175"/>
                </a:moveTo>
                <a:cubicBezTo>
                  <a:pt x="497924" y="1491455"/>
                  <a:pt x="399793" y="1580665"/>
                  <a:pt x="290759" y="1656989"/>
                </a:cubicBezTo>
                <a:cubicBezTo>
                  <a:pt x="370057" y="1734304"/>
                  <a:pt x="482065" y="1801707"/>
                  <a:pt x="661475" y="1770979"/>
                </a:cubicBezTo>
                <a:cubicBezTo>
                  <a:pt x="698150" y="1681769"/>
                  <a:pt x="725905" y="1590577"/>
                  <a:pt x="748703" y="1508306"/>
                </a:cubicBezTo>
                <a:cubicBezTo>
                  <a:pt x="687247" y="1484517"/>
                  <a:pt x="630747" y="1451806"/>
                  <a:pt x="580195" y="1410175"/>
                </a:cubicBezTo>
                <a:close/>
                <a:moveTo>
                  <a:pt x="1330549" y="500235"/>
                </a:moveTo>
                <a:cubicBezTo>
                  <a:pt x="1412820" y="418955"/>
                  <a:pt x="1510950" y="329746"/>
                  <a:pt x="1619985" y="253422"/>
                </a:cubicBezTo>
                <a:cubicBezTo>
                  <a:pt x="1540687" y="176107"/>
                  <a:pt x="1428679" y="108704"/>
                  <a:pt x="1249268" y="139432"/>
                </a:cubicBezTo>
                <a:cubicBezTo>
                  <a:pt x="1212593" y="228641"/>
                  <a:pt x="1184839" y="319834"/>
                  <a:pt x="1162041" y="402105"/>
                </a:cubicBezTo>
                <a:cubicBezTo>
                  <a:pt x="1223497" y="425894"/>
                  <a:pt x="1279996" y="459595"/>
                  <a:pt x="1330549" y="500235"/>
                </a:cubicBezTo>
                <a:close/>
                <a:moveTo>
                  <a:pt x="500898" y="1330877"/>
                </a:moveTo>
                <a:cubicBezTo>
                  <a:pt x="459266" y="1281317"/>
                  <a:pt x="426556" y="1223826"/>
                  <a:pt x="403758" y="1162370"/>
                </a:cubicBezTo>
                <a:cubicBezTo>
                  <a:pt x="291750" y="1192107"/>
                  <a:pt x="161901" y="1219861"/>
                  <a:pt x="30068" y="1231756"/>
                </a:cubicBezTo>
                <a:cubicBezTo>
                  <a:pt x="59805" y="1338807"/>
                  <a:pt x="124234" y="1452798"/>
                  <a:pt x="294724" y="1516236"/>
                </a:cubicBezTo>
                <a:cubicBezTo>
                  <a:pt x="370057" y="1455771"/>
                  <a:pt x="439442" y="1391342"/>
                  <a:pt x="500898" y="1330877"/>
                </a:cubicBezTo>
                <a:close/>
                <a:moveTo>
                  <a:pt x="1808316" y="801566"/>
                </a:moveTo>
                <a:cubicBezTo>
                  <a:pt x="1713159" y="815443"/>
                  <a:pt x="1619985" y="835268"/>
                  <a:pt x="1536722" y="858066"/>
                </a:cubicBezTo>
                <a:cubicBezTo>
                  <a:pt x="1541678" y="889785"/>
                  <a:pt x="1544652" y="922495"/>
                  <a:pt x="1544652" y="956196"/>
                </a:cubicBezTo>
                <a:cubicBezTo>
                  <a:pt x="1544652" y="988907"/>
                  <a:pt x="1541678" y="1021617"/>
                  <a:pt x="1536722" y="1053336"/>
                </a:cubicBezTo>
                <a:cubicBezTo>
                  <a:pt x="1648730" y="1083073"/>
                  <a:pt x="1773623" y="1124704"/>
                  <a:pt x="1894552" y="1180212"/>
                </a:cubicBezTo>
                <a:cubicBezTo>
                  <a:pt x="1923298" y="1073160"/>
                  <a:pt x="1924289" y="941328"/>
                  <a:pt x="1808316" y="801566"/>
                </a:cubicBezTo>
                <a:close/>
                <a:moveTo>
                  <a:pt x="1409846" y="580524"/>
                </a:moveTo>
                <a:cubicBezTo>
                  <a:pt x="1451477" y="630085"/>
                  <a:pt x="1484188" y="687576"/>
                  <a:pt x="1507977" y="749032"/>
                </a:cubicBezTo>
                <a:cubicBezTo>
                  <a:pt x="1619985" y="719295"/>
                  <a:pt x="1748843" y="692532"/>
                  <a:pt x="1881667" y="680637"/>
                </a:cubicBezTo>
                <a:cubicBezTo>
                  <a:pt x="1851930" y="573586"/>
                  <a:pt x="1787501" y="459595"/>
                  <a:pt x="1617011" y="396157"/>
                </a:cubicBezTo>
                <a:cubicBezTo>
                  <a:pt x="1540687" y="455631"/>
                  <a:pt x="1471302" y="520060"/>
                  <a:pt x="1409846" y="580524"/>
                </a:cubicBezTo>
                <a:close/>
                <a:moveTo>
                  <a:pt x="1507977" y="1161379"/>
                </a:moveTo>
                <a:cubicBezTo>
                  <a:pt x="1485179" y="1222834"/>
                  <a:pt x="1451477" y="1280325"/>
                  <a:pt x="1410837" y="1329886"/>
                </a:cubicBezTo>
                <a:cubicBezTo>
                  <a:pt x="1492117" y="1412157"/>
                  <a:pt x="1581327" y="1510288"/>
                  <a:pt x="1657651" y="1619322"/>
                </a:cubicBezTo>
                <a:cubicBezTo>
                  <a:pt x="1734966" y="1540025"/>
                  <a:pt x="1802369" y="1428017"/>
                  <a:pt x="1771641" y="1248606"/>
                </a:cubicBezTo>
                <a:cubicBezTo>
                  <a:pt x="1681440" y="1212922"/>
                  <a:pt x="1591239" y="1184177"/>
                  <a:pt x="1507977" y="1161379"/>
                </a:cubicBezTo>
                <a:close/>
                <a:moveTo>
                  <a:pt x="955868" y="1544981"/>
                </a:moveTo>
                <a:cubicBezTo>
                  <a:pt x="922166" y="1544981"/>
                  <a:pt x="890447" y="1542007"/>
                  <a:pt x="858728" y="1537051"/>
                </a:cubicBezTo>
                <a:cubicBezTo>
                  <a:pt x="828991" y="1649059"/>
                  <a:pt x="787360" y="1774944"/>
                  <a:pt x="731852" y="1894881"/>
                </a:cubicBezTo>
                <a:cubicBezTo>
                  <a:pt x="838904" y="1922636"/>
                  <a:pt x="969745" y="1923627"/>
                  <a:pt x="1110498" y="1808645"/>
                </a:cubicBezTo>
                <a:cubicBezTo>
                  <a:pt x="1096621" y="1713488"/>
                  <a:pt x="1076796" y="1620314"/>
                  <a:pt x="1053998" y="1537051"/>
                </a:cubicBezTo>
                <a:cubicBezTo>
                  <a:pt x="1021288" y="1542007"/>
                  <a:pt x="988578" y="1544981"/>
                  <a:pt x="955868" y="1544981"/>
                </a:cubicBezTo>
                <a:close/>
                <a:moveTo>
                  <a:pt x="1162041" y="1508306"/>
                </a:moveTo>
                <a:cubicBezTo>
                  <a:pt x="1191778" y="1620314"/>
                  <a:pt x="1218541" y="1749172"/>
                  <a:pt x="1230435" y="1881995"/>
                </a:cubicBezTo>
                <a:cubicBezTo>
                  <a:pt x="1337487" y="1852259"/>
                  <a:pt x="1451477" y="1787830"/>
                  <a:pt x="1514915" y="1618331"/>
                </a:cubicBezTo>
                <a:cubicBezTo>
                  <a:pt x="1455442" y="1542007"/>
                  <a:pt x="1391013" y="1471631"/>
                  <a:pt x="1330549" y="1411166"/>
                </a:cubicBezTo>
                <a:cubicBezTo>
                  <a:pt x="1280988" y="1451806"/>
                  <a:pt x="1223497" y="1484517"/>
                  <a:pt x="1162041" y="1508306"/>
                </a:cubicBezTo>
                <a:close/>
                <a:moveTo>
                  <a:pt x="1432644" y="955205"/>
                </a:moveTo>
                <a:cubicBezTo>
                  <a:pt x="1432644" y="1218870"/>
                  <a:pt x="1218541" y="1432973"/>
                  <a:pt x="954876" y="1432973"/>
                </a:cubicBezTo>
                <a:cubicBezTo>
                  <a:pt x="691212" y="1432973"/>
                  <a:pt x="477108" y="1218870"/>
                  <a:pt x="477108" y="955205"/>
                </a:cubicBezTo>
                <a:cubicBezTo>
                  <a:pt x="477108" y="691541"/>
                  <a:pt x="691212" y="477437"/>
                  <a:pt x="954876" y="477437"/>
                </a:cubicBezTo>
                <a:cubicBezTo>
                  <a:pt x="1218541" y="477437"/>
                  <a:pt x="1432644" y="692532"/>
                  <a:pt x="1432644" y="955205"/>
                </a:cubicBezTo>
                <a:close/>
                <a:moveTo>
                  <a:pt x="1067875" y="955205"/>
                </a:moveTo>
                <a:cubicBezTo>
                  <a:pt x="1067875" y="892758"/>
                  <a:pt x="1017323" y="843197"/>
                  <a:pt x="955868" y="843197"/>
                </a:cubicBezTo>
                <a:cubicBezTo>
                  <a:pt x="893421" y="843197"/>
                  <a:pt x="843860" y="893750"/>
                  <a:pt x="843860" y="955205"/>
                </a:cubicBezTo>
                <a:cubicBezTo>
                  <a:pt x="843860" y="1017652"/>
                  <a:pt x="894412" y="1067213"/>
                  <a:pt x="955868" y="1067213"/>
                </a:cubicBezTo>
                <a:cubicBezTo>
                  <a:pt x="1017323" y="1068204"/>
                  <a:pt x="1067875" y="1017652"/>
                  <a:pt x="1067875" y="955205"/>
                </a:cubicBezTo>
                <a:close/>
              </a:path>
            </a:pathLst>
          </a:custGeom>
          <a:solidFill>
            <a:schemeClr val="tx1"/>
          </a:solidFill>
          <a:ln w="99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rain">
            <a:extLst>
              <a:ext uri="{FF2B5EF4-FFF2-40B4-BE49-F238E27FC236}">
                <a16:creationId xmlns:a16="http://schemas.microsoft.com/office/drawing/2014/main" id="{D1461EDB-067B-884E-A003-F8419A71B1CD}"/>
              </a:ext>
            </a:extLst>
          </p:cNvPr>
          <p:cNvSpPr/>
          <p:nvPr/>
        </p:nvSpPr>
        <p:spPr>
          <a:xfrm>
            <a:off x="2076158" y="3053465"/>
            <a:ext cx="304368" cy="477659"/>
          </a:xfrm>
          <a:custGeom>
            <a:avLst/>
            <a:gdLst>
              <a:gd name="connsiteX0" fmla="*/ 1646521 w 1683302"/>
              <a:gd name="connsiteY0" fmla="*/ 837661 h 2641680"/>
              <a:gd name="connsiteX1" fmla="*/ 1390787 w 1683302"/>
              <a:gd name="connsiteY1" fmla="*/ 149754 h 2641680"/>
              <a:gd name="connsiteX2" fmla="*/ 841651 w 1683302"/>
              <a:gd name="connsiteY2" fmla="*/ 80 h 2641680"/>
              <a:gd name="connsiteX3" fmla="*/ 292515 w 1683302"/>
              <a:gd name="connsiteY3" fmla="*/ 149754 h 2641680"/>
              <a:gd name="connsiteX4" fmla="*/ 36781 w 1683302"/>
              <a:gd name="connsiteY4" fmla="*/ 837661 h 2641680"/>
              <a:gd name="connsiteX5" fmla="*/ 106 w 1683302"/>
              <a:gd name="connsiteY5" fmla="*/ 1240096 h 2641680"/>
              <a:gd name="connsiteX6" fmla="*/ 52640 w 1683302"/>
              <a:gd name="connsiteY6" fmla="*/ 2033072 h 2641680"/>
              <a:gd name="connsiteX7" fmla="*/ 246919 w 1683302"/>
              <a:gd name="connsiteY7" fmla="*/ 2233298 h 2641680"/>
              <a:gd name="connsiteX8" fmla="*/ 840660 w 1683302"/>
              <a:gd name="connsiteY8" fmla="*/ 2233298 h 2641680"/>
              <a:gd name="connsiteX9" fmla="*/ 842642 w 1683302"/>
              <a:gd name="connsiteY9" fmla="*/ 2233298 h 2641680"/>
              <a:gd name="connsiteX10" fmla="*/ 1436383 w 1683302"/>
              <a:gd name="connsiteY10" fmla="*/ 2233298 h 2641680"/>
              <a:gd name="connsiteX11" fmla="*/ 1630662 w 1683302"/>
              <a:gd name="connsiteY11" fmla="*/ 2033072 h 2641680"/>
              <a:gd name="connsiteX12" fmla="*/ 1683197 w 1683302"/>
              <a:gd name="connsiteY12" fmla="*/ 1240096 h 2641680"/>
              <a:gd name="connsiteX13" fmla="*/ 1646521 w 1683302"/>
              <a:gd name="connsiteY13" fmla="*/ 837661 h 2641680"/>
              <a:gd name="connsiteX14" fmla="*/ 282603 w 1683302"/>
              <a:gd name="connsiteY14" fmla="*/ 1629645 h 2641680"/>
              <a:gd name="connsiteX15" fmla="*/ 182490 w 1683302"/>
              <a:gd name="connsiteY15" fmla="*/ 1286683 h 2641680"/>
              <a:gd name="connsiteX16" fmla="*/ 201323 w 1683302"/>
              <a:gd name="connsiteY16" fmla="*/ 1246043 h 2641680"/>
              <a:gd name="connsiteX17" fmla="*/ 220156 w 1683302"/>
              <a:gd name="connsiteY17" fmla="*/ 1236131 h 2641680"/>
              <a:gd name="connsiteX18" fmla="*/ 235025 w 1683302"/>
              <a:gd name="connsiteY18" fmla="*/ 1234149 h 2641680"/>
              <a:gd name="connsiteX19" fmla="*/ 344059 w 1683302"/>
              <a:gd name="connsiteY19" fmla="*/ 1234149 h 2641680"/>
              <a:gd name="connsiteX20" fmla="*/ 446154 w 1683302"/>
              <a:gd name="connsiteY20" fmla="*/ 1379858 h 2641680"/>
              <a:gd name="connsiteX21" fmla="*/ 524461 w 1683302"/>
              <a:gd name="connsiteY21" fmla="*/ 1630636 h 2641680"/>
              <a:gd name="connsiteX22" fmla="*/ 282603 w 1683302"/>
              <a:gd name="connsiteY22" fmla="*/ 1630636 h 2641680"/>
              <a:gd name="connsiteX23" fmla="*/ 1401690 w 1683302"/>
              <a:gd name="connsiteY23" fmla="*/ 1629645 h 2641680"/>
              <a:gd name="connsiteX24" fmla="*/ 1159833 w 1683302"/>
              <a:gd name="connsiteY24" fmla="*/ 1629645 h 2641680"/>
              <a:gd name="connsiteX25" fmla="*/ 1238139 w 1683302"/>
              <a:gd name="connsiteY25" fmla="*/ 1378867 h 2641680"/>
              <a:gd name="connsiteX26" fmla="*/ 1340234 w 1683302"/>
              <a:gd name="connsiteY26" fmla="*/ 1233157 h 2641680"/>
              <a:gd name="connsiteX27" fmla="*/ 1449269 w 1683302"/>
              <a:gd name="connsiteY27" fmla="*/ 1233157 h 2641680"/>
              <a:gd name="connsiteX28" fmla="*/ 1464137 w 1683302"/>
              <a:gd name="connsiteY28" fmla="*/ 1235140 h 2641680"/>
              <a:gd name="connsiteX29" fmla="*/ 1482970 w 1683302"/>
              <a:gd name="connsiteY29" fmla="*/ 1246043 h 2641680"/>
              <a:gd name="connsiteX30" fmla="*/ 1501803 w 1683302"/>
              <a:gd name="connsiteY30" fmla="*/ 1285692 h 2641680"/>
              <a:gd name="connsiteX31" fmla="*/ 1401690 w 1683302"/>
              <a:gd name="connsiteY31" fmla="*/ 1629645 h 2641680"/>
              <a:gd name="connsiteX32" fmla="*/ 842642 w 1683302"/>
              <a:gd name="connsiteY32" fmla="*/ 987335 h 2641680"/>
              <a:gd name="connsiteX33" fmla="*/ 162666 w 1683302"/>
              <a:gd name="connsiteY33" fmla="*/ 936783 h 2641680"/>
              <a:gd name="connsiteX34" fmla="*/ 303419 w 1683302"/>
              <a:gd name="connsiteY34" fmla="*/ 434234 h 2641680"/>
              <a:gd name="connsiteX35" fmla="*/ 369831 w 1683302"/>
              <a:gd name="connsiteY35" fmla="*/ 394586 h 2641680"/>
              <a:gd name="connsiteX36" fmla="*/ 840660 w 1683302"/>
              <a:gd name="connsiteY36" fmla="*/ 394586 h 2641680"/>
              <a:gd name="connsiteX37" fmla="*/ 842642 w 1683302"/>
              <a:gd name="connsiteY37" fmla="*/ 394586 h 2641680"/>
              <a:gd name="connsiteX38" fmla="*/ 1313472 w 1683302"/>
              <a:gd name="connsiteY38" fmla="*/ 394586 h 2641680"/>
              <a:gd name="connsiteX39" fmla="*/ 1379883 w 1683302"/>
              <a:gd name="connsiteY39" fmla="*/ 434234 h 2641680"/>
              <a:gd name="connsiteX40" fmla="*/ 1520636 w 1683302"/>
              <a:gd name="connsiteY40" fmla="*/ 936783 h 2641680"/>
              <a:gd name="connsiteX41" fmla="*/ 842642 w 1683302"/>
              <a:gd name="connsiteY41" fmla="*/ 987335 h 2641680"/>
              <a:gd name="connsiteX42" fmla="*/ 1460172 w 1683302"/>
              <a:gd name="connsiteY42" fmla="*/ 2402796 h 2641680"/>
              <a:gd name="connsiteX43" fmla="*/ 224121 w 1683302"/>
              <a:gd name="connsiteY43" fmla="*/ 2402796 h 2641680"/>
              <a:gd name="connsiteX44" fmla="*/ 264761 w 1683302"/>
              <a:gd name="connsiteY44" fmla="*/ 2304666 h 2641680"/>
              <a:gd name="connsiteX45" fmla="*/ 1419532 w 1683302"/>
              <a:gd name="connsiteY45" fmla="*/ 2304666 h 2641680"/>
              <a:gd name="connsiteX46" fmla="*/ 1460172 w 1683302"/>
              <a:gd name="connsiteY46" fmla="*/ 2402796 h 2641680"/>
              <a:gd name="connsiteX47" fmla="*/ 345050 w 1683302"/>
              <a:gd name="connsiteY47" fmla="*/ 2473173 h 2641680"/>
              <a:gd name="connsiteX48" fmla="*/ 476882 w 1683302"/>
              <a:gd name="connsiteY48" fmla="*/ 2473173 h 2641680"/>
              <a:gd name="connsiteX49" fmla="*/ 355953 w 1683302"/>
              <a:gd name="connsiteY49" fmla="*/ 2641680 h 2641680"/>
              <a:gd name="connsiteX50" fmla="*/ 225112 w 1683302"/>
              <a:gd name="connsiteY50" fmla="*/ 2641680 h 2641680"/>
              <a:gd name="connsiteX51" fmla="*/ 345050 w 1683302"/>
              <a:gd name="connsiteY51" fmla="*/ 2473173 h 2641680"/>
              <a:gd name="connsiteX52" fmla="*/ 1208402 w 1683302"/>
              <a:gd name="connsiteY52" fmla="*/ 2473173 h 2641680"/>
              <a:gd name="connsiteX53" fmla="*/ 1340234 w 1683302"/>
              <a:gd name="connsiteY53" fmla="*/ 2473173 h 2641680"/>
              <a:gd name="connsiteX54" fmla="*/ 1461163 w 1683302"/>
              <a:gd name="connsiteY54" fmla="*/ 2641680 h 2641680"/>
              <a:gd name="connsiteX55" fmla="*/ 1330322 w 1683302"/>
              <a:gd name="connsiteY55" fmla="*/ 2641680 h 2641680"/>
              <a:gd name="connsiteX56" fmla="*/ 1208402 w 1683302"/>
              <a:gd name="connsiteY56" fmla="*/ 2473173 h 264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1683302" h="2641680">
                <a:moveTo>
                  <a:pt x="1646521" y="837661"/>
                </a:moveTo>
                <a:cubicBezTo>
                  <a:pt x="1646521" y="837661"/>
                  <a:pt x="1525593" y="329165"/>
                  <a:pt x="1390787" y="149754"/>
                </a:cubicBezTo>
                <a:cubicBezTo>
                  <a:pt x="1281753" y="5036"/>
                  <a:pt x="930861" y="-911"/>
                  <a:pt x="841651" y="80"/>
                </a:cubicBezTo>
                <a:cubicBezTo>
                  <a:pt x="752441" y="-911"/>
                  <a:pt x="401550" y="5036"/>
                  <a:pt x="292515" y="149754"/>
                </a:cubicBezTo>
                <a:cubicBezTo>
                  <a:pt x="157710" y="329165"/>
                  <a:pt x="36781" y="837661"/>
                  <a:pt x="36781" y="837661"/>
                </a:cubicBezTo>
                <a:cubicBezTo>
                  <a:pt x="-3859" y="979405"/>
                  <a:pt x="106" y="1085466"/>
                  <a:pt x="106" y="1240096"/>
                </a:cubicBezTo>
                <a:lnTo>
                  <a:pt x="52640" y="2033072"/>
                </a:lnTo>
                <a:cubicBezTo>
                  <a:pt x="60570" y="2154000"/>
                  <a:pt x="136894" y="2233298"/>
                  <a:pt x="246919" y="2233298"/>
                </a:cubicBezTo>
                <a:lnTo>
                  <a:pt x="840660" y="2233298"/>
                </a:lnTo>
                <a:lnTo>
                  <a:pt x="842642" y="2233298"/>
                </a:lnTo>
                <a:lnTo>
                  <a:pt x="1436383" y="2233298"/>
                </a:lnTo>
                <a:cubicBezTo>
                  <a:pt x="1546408" y="2233298"/>
                  <a:pt x="1622732" y="2154000"/>
                  <a:pt x="1630662" y="2033072"/>
                </a:cubicBezTo>
                <a:lnTo>
                  <a:pt x="1683197" y="1240096"/>
                </a:lnTo>
                <a:cubicBezTo>
                  <a:pt x="1683197" y="1085466"/>
                  <a:pt x="1687161" y="979405"/>
                  <a:pt x="1646521" y="837661"/>
                </a:cubicBezTo>
                <a:close/>
                <a:moveTo>
                  <a:pt x="282603" y="1629645"/>
                </a:moveTo>
                <a:cubicBezTo>
                  <a:pt x="282603" y="1629645"/>
                  <a:pt x="182490" y="1310472"/>
                  <a:pt x="182490" y="1286683"/>
                </a:cubicBezTo>
                <a:cubicBezTo>
                  <a:pt x="182490" y="1264876"/>
                  <a:pt x="189429" y="1255955"/>
                  <a:pt x="201323" y="1246043"/>
                </a:cubicBezTo>
                <a:cubicBezTo>
                  <a:pt x="206279" y="1242078"/>
                  <a:pt x="212227" y="1238113"/>
                  <a:pt x="220156" y="1236131"/>
                </a:cubicBezTo>
                <a:cubicBezTo>
                  <a:pt x="225112" y="1234149"/>
                  <a:pt x="230069" y="1234149"/>
                  <a:pt x="235025" y="1234149"/>
                </a:cubicBezTo>
                <a:cubicBezTo>
                  <a:pt x="235025" y="1234149"/>
                  <a:pt x="342076" y="1234149"/>
                  <a:pt x="344059" y="1234149"/>
                </a:cubicBezTo>
                <a:cubicBezTo>
                  <a:pt x="404523" y="1235140"/>
                  <a:pt x="408488" y="1250999"/>
                  <a:pt x="446154" y="1379858"/>
                </a:cubicBezTo>
                <a:cubicBezTo>
                  <a:pt x="462014" y="1434375"/>
                  <a:pt x="524461" y="1630636"/>
                  <a:pt x="524461" y="1630636"/>
                </a:cubicBezTo>
                <a:lnTo>
                  <a:pt x="282603" y="1630636"/>
                </a:lnTo>
                <a:close/>
                <a:moveTo>
                  <a:pt x="1401690" y="1629645"/>
                </a:moveTo>
                <a:lnTo>
                  <a:pt x="1159833" y="1629645"/>
                </a:lnTo>
                <a:cubicBezTo>
                  <a:pt x="1159833" y="1629645"/>
                  <a:pt x="1222279" y="1433384"/>
                  <a:pt x="1238139" y="1378867"/>
                </a:cubicBezTo>
                <a:cubicBezTo>
                  <a:pt x="1275805" y="1250999"/>
                  <a:pt x="1279770" y="1234149"/>
                  <a:pt x="1340234" y="1233157"/>
                </a:cubicBezTo>
                <a:cubicBezTo>
                  <a:pt x="1342217" y="1233157"/>
                  <a:pt x="1449269" y="1233157"/>
                  <a:pt x="1449269" y="1233157"/>
                </a:cubicBezTo>
                <a:cubicBezTo>
                  <a:pt x="1454225" y="1233157"/>
                  <a:pt x="1459181" y="1234149"/>
                  <a:pt x="1464137" y="1235140"/>
                </a:cubicBezTo>
                <a:cubicBezTo>
                  <a:pt x="1471075" y="1237122"/>
                  <a:pt x="1478014" y="1241087"/>
                  <a:pt x="1482970" y="1246043"/>
                </a:cubicBezTo>
                <a:cubicBezTo>
                  <a:pt x="1494865" y="1255955"/>
                  <a:pt x="1501803" y="1263885"/>
                  <a:pt x="1501803" y="1285692"/>
                </a:cubicBezTo>
                <a:cubicBezTo>
                  <a:pt x="1501803" y="1311464"/>
                  <a:pt x="1401690" y="1629645"/>
                  <a:pt x="1401690" y="1629645"/>
                </a:cubicBezTo>
                <a:close/>
                <a:moveTo>
                  <a:pt x="842642" y="987335"/>
                </a:moveTo>
                <a:lnTo>
                  <a:pt x="162666" y="936783"/>
                </a:lnTo>
                <a:lnTo>
                  <a:pt x="303419" y="434234"/>
                </a:lnTo>
                <a:cubicBezTo>
                  <a:pt x="315314" y="407471"/>
                  <a:pt x="338111" y="394586"/>
                  <a:pt x="369831" y="394586"/>
                </a:cubicBezTo>
                <a:lnTo>
                  <a:pt x="840660" y="394586"/>
                </a:lnTo>
                <a:lnTo>
                  <a:pt x="842642" y="394586"/>
                </a:lnTo>
                <a:lnTo>
                  <a:pt x="1313472" y="394586"/>
                </a:lnTo>
                <a:cubicBezTo>
                  <a:pt x="1345191" y="394586"/>
                  <a:pt x="1367989" y="407471"/>
                  <a:pt x="1379883" y="434234"/>
                </a:cubicBezTo>
                <a:lnTo>
                  <a:pt x="1520636" y="936783"/>
                </a:lnTo>
                <a:lnTo>
                  <a:pt x="842642" y="987335"/>
                </a:lnTo>
                <a:close/>
                <a:moveTo>
                  <a:pt x="1460172" y="2402796"/>
                </a:moveTo>
                <a:lnTo>
                  <a:pt x="224121" y="2402796"/>
                </a:lnTo>
                <a:lnTo>
                  <a:pt x="264761" y="2304666"/>
                </a:lnTo>
                <a:lnTo>
                  <a:pt x="1419532" y="2304666"/>
                </a:lnTo>
                <a:lnTo>
                  <a:pt x="1460172" y="2402796"/>
                </a:lnTo>
                <a:close/>
                <a:moveTo>
                  <a:pt x="345050" y="2473173"/>
                </a:moveTo>
                <a:lnTo>
                  <a:pt x="476882" y="2473173"/>
                </a:lnTo>
                <a:lnTo>
                  <a:pt x="355953" y="2641680"/>
                </a:lnTo>
                <a:lnTo>
                  <a:pt x="225112" y="2641680"/>
                </a:lnTo>
                <a:lnTo>
                  <a:pt x="345050" y="2473173"/>
                </a:lnTo>
                <a:close/>
                <a:moveTo>
                  <a:pt x="1208402" y="2473173"/>
                </a:moveTo>
                <a:lnTo>
                  <a:pt x="1340234" y="2473173"/>
                </a:lnTo>
                <a:lnTo>
                  <a:pt x="1461163" y="2641680"/>
                </a:lnTo>
                <a:lnTo>
                  <a:pt x="1330322" y="2641680"/>
                </a:lnTo>
                <a:lnTo>
                  <a:pt x="1208402" y="2473173"/>
                </a:lnTo>
                <a:close/>
              </a:path>
            </a:pathLst>
          </a:custGeom>
          <a:solidFill>
            <a:schemeClr val="tx1"/>
          </a:solidFill>
          <a:ln w="99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0025A143-70E0-DC41-8E1E-38B57A9AE058}"/>
              </a:ext>
            </a:extLst>
          </p:cNvPr>
          <p:cNvGrpSpPr/>
          <p:nvPr/>
        </p:nvGrpSpPr>
        <p:grpSpPr>
          <a:xfrm>
            <a:off x="6422557" y="2777512"/>
            <a:ext cx="362486" cy="738968"/>
            <a:chOff x="8279389" y="2753002"/>
            <a:chExt cx="292100" cy="595479"/>
          </a:xfrm>
        </p:grpSpPr>
        <p:sp>
          <p:nvSpPr>
            <p:cNvPr id="71" name="Freeform: Shape 114">
              <a:extLst>
                <a:ext uri="{FF2B5EF4-FFF2-40B4-BE49-F238E27FC236}">
                  <a16:creationId xmlns:a16="http://schemas.microsoft.com/office/drawing/2014/main" id="{A9832538-3AB4-8749-937C-9753603EF3EE}"/>
                </a:ext>
              </a:extLst>
            </p:cNvPr>
            <p:cNvSpPr/>
            <p:nvPr/>
          </p:nvSpPr>
          <p:spPr bwMode="auto">
            <a:xfrm flipH="1">
              <a:off x="8350696" y="3246449"/>
              <a:ext cx="66484" cy="102032"/>
            </a:xfrm>
            <a:custGeom>
              <a:avLst/>
              <a:gdLst>
                <a:gd name="connsiteX0" fmla="*/ 0 w 158115"/>
                <a:gd name="connsiteY0" fmla="*/ 0 h 240030"/>
                <a:gd name="connsiteX1" fmla="*/ 158115 w 158115"/>
                <a:gd name="connsiteY1" fmla="*/ 0 h 240030"/>
                <a:gd name="connsiteX2" fmla="*/ 156210 w 158115"/>
                <a:gd name="connsiteY2" fmla="*/ 47625 h 240030"/>
                <a:gd name="connsiteX3" fmla="*/ 131445 w 158115"/>
                <a:gd name="connsiteY3" fmla="*/ 66675 h 240030"/>
                <a:gd name="connsiteX4" fmla="*/ 131445 w 158115"/>
                <a:gd name="connsiteY4" fmla="*/ 240030 h 240030"/>
                <a:gd name="connsiteX5" fmla="*/ 30480 w 158115"/>
                <a:gd name="connsiteY5" fmla="*/ 240030 h 240030"/>
                <a:gd name="connsiteX6" fmla="*/ 32385 w 158115"/>
                <a:gd name="connsiteY6" fmla="*/ 68580 h 240030"/>
                <a:gd name="connsiteX7" fmla="*/ 7620 w 158115"/>
                <a:gd name="connsiteY7" fmla="*/ 51435 h 240030"/>
                <a:gd name="connsiteX8" fmla="*/ 0 w 158115"/>
                <a:gd name="connsiteY8" fmla="*/ 0 h 240030"/>
                <a:gd name="connsiteX0" fmla="*/ 0 w 161925"/>
                <a:gd name="connsiteY0" fmla="*/ 0 h 240030"/>
                <a:gd name="connsiteX1" fmla="*/ 161925 w 161925"/>
                <a:gd name="connsiteY1" fmla="*/ 0 h 240030"/>
                <a:gd name="connsiteX2" fmla="*/ 156210 w 161925"/>
                <a:gd name="connsiteY2" fmla="*/ 47625 h 240030"/>
                <a:gd name="connsiteX3" fmla="*/ 131445 w 161925"/>
                <a:gd name="connsiteY3" fmla="*/ 66675 h 240030"/>
                <a:gd name="connsiteX4" fmla="*/ 131445 w 161925"/>
                <a:gd name="connsiteY4" fmla="*/ 240030 h 240030"/>
                <a:gd name="connsiteX5" fmla="*/ 30480 w 161925"/>
                <a:gd name="connsiteY5" fmla="*/ 240030 h 240030"/>
                <a:gd name="connsiteX6" fmla="*/ 32385 w 161925"/>
                <a:gd name="connsiteY6" fmla="*/ 68580 h 240030"/>
                <a:gd name="connsiteX7" fmla="*/ 7620 w 161925"/>
                <a:gd name="connsiteY7" fmla="*/ 51435 h 240030"/>
                <a:gd name="connsiteX8" fmla="*/ 0 w 161925"/>
                <a:gd name="connsiteY8" fmla="*/ 0 h 240030"/>
                <a:gd name="connsiteX0" fmla="*/ 0 w 167640"/>
                <a:gd name="connsiteY0" fmla="*/ 1905 h 240030"/>
                <a:gd name="connsiteX1" fmla="*/ 167640 w 167640"/>
                <a:gd name="connsiteY1" fmla="*/ 0 h 240030"/>
                <a:gd name="connsiteX2" fmla="*/ 161925 w 167640"/>
                <a:gd name="connsiteY2" fmla="*/ 47625 h 240030"/>
                <a:gd name="connsiteX3" fmla="*/ 137160 w 167640"/>
                <a:gd name="connsiteY3" fmla="*/ 66675 h 240030"/>
                <a:gd name="connsiteX4" fmla="*/ 137160 w 167640"/>
                <a:gd name="connsiteY4" fmla="*/ 240030 h 240030"/>
                <a:gd name="connsiteX5" fmla="*/ 36195 w 167640"/>
                <a:gd name="connsiteY5" fmla="*/ 240030 h 240030"/>
                <a:gd name="connsiteX6" fmla="*/ 38100 w 167640"/>
                <a:gd name="connsiteY6" fmla="*/ 68580 h 240030"/>
                <a:gd name="connsiteX7" fmla="*/ 13335 w 167640"/>
                <a:gd name="connsiteY7" fmla="*/ 51435 h 240030"/>
                <a:gd name="connsiteX8" fmla="*/ 0 w 167640"/>
                <a:gd name="connsiteY8" fmla="*/ 1905 h 240030"/>
                <a:gd name="connsiteX0" fmla="*/ 0 w 161925"/>
                <a:gd name="connsiteY0" fmla="*/ 1905 h 240030"/>
                <a:gd name="connsiteX1" fmla="*/ 161925 w 161925"/>
                <a:gd name="connsiteY1" fmla="*/ 0 h 240030"/>
                <a:gd name="connsiteX2" fmla="*/ 156210 w 161925"/>
                <a:gd name="connsiteY2" fmla="*/ 47625 h 240030"/>
                <a:gd name="connsiteX3" fmla="*/ 131445 w 161925"/>
                <a:gd name="connsiteY3" fmla="*/ 66675 h 240030"/>
                <a:gd name="connsiteX4" fmla="*/ 131445 w 161925"/>
                <a:gd name="connsiteY4" fmla="*/ 240030 h 240030"/>
                <a:gd name="connsiteX5" fmla="*/ 30480 w 161925"/>
                <a:gd name="connsiteY5" fmla="*/ 240030 h 240030"/>
                <a:gd name="connsiteX6" fmla="*/ 32385 w 161925"/>
                <a:gd name="connsiteY6" fmla="*/ 68580 h 240030"/>
                <a:gd name="connsiteX7" fmla="*/ 7620 w 161925"/>
                <a:gd name="connsiteY7" fmla="*/ 51435 h 240030"/>
                <a:gd name="connsiteX8" fmla="*/ 0 w 161925"/>
                <a:gd name="connsiteY8" fmla="*/ 1905 h 24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925" h="240030">
                  <a:moveTo>
                    <a:pt x="0" y="1905"/>
                  </a:moveTo>
                  <a:lnTo>
                    <a:pt x="161925" y="0"/>
                  </a:lnTo>
                  <a:lnTo>
                    <a:pt x="156210" y="47625"/>
                  </a:lnTo>
                  <a:lnTo>
                    <a:pt x="131445" y="66675"/>
                  </a:lnTo>
                  <a:lnTo>
                    <a:pt x="131445" y="240030"/>
                  </a:lnTo>
                  <a:lnTo>
                    <a:pt x="30480" y="240030"/>
                  </a:lnTo>
                  <a:lnTo>
                    <a:pt x="32385" y="68580"/>
                  </a:lnTo>
                  <a:lnTo>
                    <a:pt x="7620" y="51435"/>
                  </a:lnTo>
                  <a:lnTo>
                    <a:pt x="0" y="1905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112">
              <a:extLst>
                <a:ext uri="{FF2B5EF4-FFF2-40B4-BE49-F238E27FC236}">
                  <a16:creationId xmlns:a16="http://schemas.microsoft.com/office/drawing/2014/main" id="{F8B33A27-B291-EC49-BF82-11BBCFFCB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9389" y="2753002"/>
              <a:ext cx="292100" cy="411162"/>
            </a:xfrm>
            <a:custGeom>
              <a:avLst/>
              <a:gdLst>
                <a:gd name="T0" fmla="*/ 1021 w 2297"/>
                <a:gd name="T1" fmla="*/ 1425 h 3213"/>
                <a:gd name="T2" fmla="*/ 1051 w 2297"/>
                <a:gd name="T3" fmla="*/ 1373 h 3213"/>
                <a:gd name="T4" fmla="*/ 2297 w 2297"/>
                <a:gd name="T5" fmla="*/ 1310 h 3213"/>
                <a:gd name="T6" fmla="*/ 2297 w 2297"/>
                <a:gd name="T7" fmla="*/ 1197 h 3213"/>
                <a:gd name="T8" fmla="*/ 1532 w 2297"/>
                <a:gd name="T9" fmla="*/ 993 h 3213"/>
                <a:gd name="T10" fmla="*/ 1048 w 2297"/>
                <a:gd name="T11" fmla="*/ 1165 h 3213"/>
                <a:gd name="T12" fmla="*/ 971 w 2297"/>
                <a:gd name="T13" fmla="*/ 1067 h 3213"/>
                <a:gd name="T14" fmla="*/ 785 w 2297"/>
                <a:gd name="T15" fmla="*/ 1018 h 3213"/>
                <a:gd name="T16" fmla="*/ 94 w 2297"/>
                <a:gd name="T17" fmla="*/ 0 h 3213"/>
                <a:gd name="T18" fmla="*/ 0 w 2297"/>
                <a:gd name="T19" fmla="*/ 64 h 3213"/>
                <a:gd name="T20" fmla="*/ 223 w 2297"/>
                <a:gd name="T21" fmla="*/ 823 h 3213"/>
                <a:gd name="T22" fmla="*/ 603 w 2297"/>
                <a:gd name="T23" fmla="*/ 1134 h 3213"/>
                <a:gd name="T24" fmla="*/ 617 w 2297"/>
                <a:gd name="T25" fmla="*/ 1428 h 3213"/>
                <a:gd name="T26" fmla="*/ 49 w 2297"/>
                <a:gd name="T27" fmla="*/ 2541 h 3213"/>
                <a:gd name="T28" fmla="*/ 149 w 2297"/>
                <a:gd name="T29" fmla="*/ 2592 h 3213"/>
                <a:gd name="T30" fmla="*/ 723 w 2297"/>
                <a:gd name="T31" fmla="*/ 1956 h 3213"/>
                <a:gd name="T32" fmla="*/ 723 w 2297"/>
                <a:gd name="T33" fmla="*/ 3213 h 3213"/>
                <a:gd name="T34" fmla="*/ 912 w 2297"/>
                <a:gd name="T35" fmla="*/ 3213 h 3213"/>
                <a:gd name="T36" fmla="*/ 912 w 2297"/>
                <a:gd name="T37" fmla="*/ 1502 h 3213"/>
                <a:gd name="T38" fmla="*/ 1021 w 2297"/>
                <a:gd name="T39" fmla="*/ 1425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97" h="3213">
                  <a:moveTo>
                    <a:pt x="1021" y="1425"/>
                  </a:moveTo>
                  <a:cubicBezTo>
                    <a:pt x="1034" y="1409"/>
                    <a:pt x="1043" y="1391"/>
                    <a:pt x="1051" y="1373"/>
                  </a:cubicBezTo>
                  <a:lnTo>
                    <a:pt x="2297" y="1310"/>
                  </a:lnTo>
                  <a:lnTo>
                    <a:pt x="2297" y="1197"/>
                  </a:lnTo>
                  <a:lnTo>
                    <a:pt x="1532" y="993"/>
                  </a:lnTo>
                  <a:lnTo>
                    <a:pt x="1048" y="1165"/>
                  </a:lnTo>
                  <a:cubicBezTo>
                    <a:pt x="1031" y="1127"/>
                    <a:pt x="1006" y="1094"/>
                    <a:pt x="971" y="1067"/>
                  </a:cubicBezTo>
                  <a:cubicBezTo>
                    <a:pt x="915" y="1026"/>
                    <a:pt x="848" y="1010"/>
                    <a:pt x="785" y="1018"/>
                  </a:cubicBezTo>
                  <a:lnTo>
                    <a:pt x="94" y="0"/>
                  </a:lnTo>
                  <a:lnTo>
                    <a:pt x="0" y="64"/>
                  </a:lnTo>
                  <a:lnTo>
                    <a:pt x="223" y="823"/>
                  </a:lnTo>
                  <a:lnTo>
                    <a:pt x="603" y="1134"/>
                  </a:lnTo>
                  <a:cubicBezTo>
                    <a:pt x="544" y="1226"/>
                    <a:pt x="551" y="1344"/>
                    <a:pt x="617" y="1428"/>
                  </a:cubicBezTo>
                  <a:lnTo>
                    <a:pt x="49" y="2541"/>
                  </a:lnTo>
                  <a:lnTo>
                    <a:pt x="149" y="2592"/>
                  </a:lnTo>
                  <a:lnTo>
                    <a:pt x="723" y="1956"/>
                  </a:lnTo>
                  <a:lnTo>
                    <a:pt x="723" y="3213"/>
                  </a:lnTo>
                  <a:lnTo>
                    <a:pt x="912" y="3213"/>
                  </a:lnTo>
                  <a:lnTo>
                    <a:pt x="912" y="1502"/>
                  </a:lnTo>
                  <a:cubicBezTo>
                    <a:pt x="969" y="1485"/>
                    <a:pt x="1005" y="1446"/>
                    <a:pt x="1021" y="142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49AEA95-34B1-8944-B636-29ACBA921DEF}"/>
                </a:ext>
              </a:extLst>
            </p:cNvPr>
            <p:cNvSpPr/>
            <p:nvPr/>
          </p:nvSpPr>
          <p:spPr>
            <a:xfrm>
              <a:off x="8365305" y="2937141"/>
              <a:ext cx="36000" cy="32338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75" name="House">
            <a:extLst>
              <a:ext uri="{FF2B5EF4-FFF2-40B4-BE49-F238E27FC236}">
                <a16:creationId xmlns:a16="http://schemas.microsoft.com/office/drawing/2014/main" id="{5C2BCA3A-C422-284D-9397-D6CDFB77AF3A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314266" y="3050264"/>
            <a:ext cx="498671" cy="498671"/>
          </a:xfrm>
          <a:prstGeom prst="rect">
            <a:avLst/>
          </a:prstGeom>
        </p:spPr>
      </p:pic>
      <p:pic>
        <p:nvPicPr>
          <p:cNvPr id="102" name="Pipe">
            <a:extLst>
              <a:ext uri="{FF2B5EF4-FFF2-40B4-BE49-F238E27FC236}">
                <a16:creationId xmlns:a16="http://schemas.microsoft.com/office/drawing/2014/main" id="{A18F7CA3-8799-694E-B741-5996374850D4}"/>
              </a:ext>
            </a:extLst>
          </p:cNvPr>
          <p:cNvPicPr>
            <a:picLocks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827" y="3031715"/>
            <a:ext cx="635062" cy="635062"/>
          </a:xfrm>
          <a:prstGeom prst="rect">
            <a:avLst/>
          </a:prstGeom>
        </p:spPr>
      </p:pic>
      <p:sp>
        <p:nvSpPr>
          <p:cNvPr id="103" name="Aspiration 200-300TWh ">
            <a:extLst>
              <a:ext uri="{FF2B5EF4-FFF2-40B4-BE49-F238E27FC236}">
                <a16:creationId xmlns:a16="http://schemas.microsoft.com/office/drawing/2014/main" id="{C61C9F7E-4E56-9E4C-9EC5-8F2CCA246F51}"/>
              </a:ext>
            </a:extLst>
          </p:cNvPr>
          <p:cNvSpPr/>
          <p:nvPr/>
        </p:nvSpPr>
        <p:spPr>
          <a:xfrm>
            <a:off x="10316168" y="1983565"/>
            <a:ext cx="1397995" cy="33855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Aspiration 200-500TWh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 each year by 2050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9" name="Co2 1">
            <a:extLst>
              <a:ext uri="{FF2B5EF4-FFF2-40B4-BE49-F238E27FC236}">
                <a16:creationId xmlns:a16="http://schemas.microsoft.com/office/drawing/2014/main" id="{8FEB9120-8298-D647-A573-A97ED2E4F960}"/>
              </a:ext>
            </a:extLst>
          </p:cNvPr>
          <p:cNvGrpSpPr/>
          <p:nvPr/>
        </p:nvGrpSpPr>
        <p:grpSpPr>
          <a:xfrm>
            <a:off x="6986975" y="3002040"/>
            <a:ext cx="511474" cy="521647"/>
            <a:chOff x="4233652" y="2547281"/>
            <a:chExt cx="2143017" cy="2185638"/>
          </a:xfrm>
          <a:solidFill>
            <a:schemeClr val="tx1"/>
          </a:solidFill>
        </p:grpSpPr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C48FE1D7-2BB8-1B4A-9C3B-3B93B12E3A24}"/>
                </a:ext>
              </a:extLst>
            </p:cNvPr>
            <p:cNvSpPr/>
            <p:nvPr/>
          </p:nvSpPr>
          <p:spPr>
            <a:xfrm>
              <a:off x="4233652" y="2547281"/>
              <a:ext cx="2143017" cy="2185638"/>
            </a:xfrm>
            <a:custGeom>
              <a:avLst/>
              <a:gdLst>
                <a:gd name="connsiteX0" fmla="*/ 1724722 w 2143016"/>
                <a:gd name="connsiteY0" fmla="*/ 1097280 h 2185638"/>
                <a:gd name="connsiteX1" fmla="*/ 1724722 w 2143016"/>
                <a:gd name="connsiteY1" fmla="*/ 887141 h 2185638"/>
                <a:gd name="connsiteX2" fmla="*/ 1517557 w 2143016"/>
                <a:gd name="connsiteY2" fmla="*/ 681959 h 2185638"/>
                <a:gd name="connsiteX3" fmla="*/ 757292 w 2143016"/>
                <a:gd name="connsiteY3" fmla="*/ 681959 h 2185638"/>
                <a:gd name="connsiteX4" fmla="*/ 757292 w 2143016"/>
                <a:gd name="connsiteY4" fmla="*/ 340979 h 2185638"/>
                <a:gd name="connsiteX5" fmla="*/ 756300 w 2143016"/>
                <a:gd name="connsiteY5" fmla="*/ 340979 h 2185638"/>
                <a:gd name="connsiteX6" fmla="*/ 378646 w 2143016"/>
                <a:gd name="connsiteY6" fmla="*/ 0 h 2185638"/>
                <a:gd name="connsiteX7" fmla="*/ 991 w 2143016"/>
                <a:gd name="connsiteY7" fmla="*/ 340979 h 2185638"/>
                <a:gd name="connsiteX8" fmla="*/ 0 w 2143016"/>
                <a:gd name="connsiteY8" fmla="*/ 340979 h 2185638"/>
                <a:gd name="connsiteX9" fmla="*/ 0 w 2143016"/>
                <a:gd name="connsiteY9" fmla="*/ 2184648 h 2185638"/>
                <a:gd name="connsiteX10" fmla="*/ 760265 w 2143016"/>
                <a:gd name="connsiteY10" fmla="*/ 2184648 h 2185638"/>
                <a:gd name="connsiteX11" fmla="*/ 760265 w 2143016"/>
                <a:gd name="connsiteY11" fmla="*/ 2048851 h 2185638"/>
                <a:gd name="connsiteX12" fmla="*/ 829651 w 2143016"/>
                <a:gd name="connsiteY12" fmla="*/ 2048851 h 2185638"/>
                <a:gd name="connsiteX13" fmla="*/ 1036816 w 2143016"/>
                <a:gd name="connsiteY13" fmla="*/ 1843668 h 2185638"/>
                <a:gd name="connsiteX14" fmla="*/ 1036816 w 2143016"/>
                <a:gd name="connsiteY14" fmla="*/ 818747 h 2185638"/>
                <a:gd name="connsiteX15" fmla="*/ 1520531 w 2143016"/>
                <a:gd name="connsiteY15" fmla="*/ 818747 h 2185638"/>
                <a:gd name="connsiteX16" fmla="*/ 1589916 w 2143016"/>
                <a:gd name="connsiteY16" fmla="*/ 887141 h 2185638"/>
                <a:gd name="connsiteX17" fmla="*/ 1589916 w 2143016"/>
                <a:gd name="connsiteY17" fmla="*/ 1097280 h 2185638"/>
                <a:gd name="connsiteX18" fmla="*/ 1175586 w 2143016"/>
                <a:gd name="connsiteY18" fmla="*/ 1571083 h 2185638"/>
                <a:gd name="connsiteX19" fmla="*/ 1175586 w 2143016"/>
                <a:gd name="connsiteY19" fmla="*/ 2185639 h 2185638"/>
                <a:gd name="connsiteX20" fmla="*/ 2143017 w 2143016"/>
                <a:gd name="connsiteY20" fmla="*/ 2185639 h 2185638"/>
                <a:gd name="connsiteX21" fmla="*/ 2143017 w 2143016"/>
                <a:gd name="connsiteY21" fmla="*/ 1571083 h 2185638"/>
                <a:gd name="connsiteX22" fmla="*/ 1724722 w 2143016"/>
                <a:gd name="connsiteY22" fmla="*/ 1097280 h 2185638"/>
                <a:gd name="connsiteX23" fmla="*/ 761257 w 2143016"/>
                <a:gd name="connsiteY23" fmla="*/ 818747 h 2185638"/>
                <a:gd name="connsiteX24" fmla="*/ 899036 w 2143016"/>
                <a:gd name="connsiteY24" fmla="*/ 818747 h 2185638"/>
                <a:gd name="connsiteX25" fmla="*/ 899036 w 2143016"/>
                <a:gd name="connsiteY25" fmla="*/ 1297506 h 2185638"/>
                <a:gd name="connsiteX26" fmla="*/ 761257 w 2143016"/>
                <a:gd name="connsiteY26" fmla="*/ 1297506 h 2185638"/>
                <a:gd name="connsiteX27" fmla="*/ 761257 w 2143016"/>
                <a:gd name="connsiteY27" fmla="*/ 818747 h 2185638"/>
                <a:gd name="connsiteX28" fmla="*/ 900027 w 2143016"/>
                <a:gd name="connsiteY28" fmla="*/ 1844659 h 2185638"/>
                <a:gd name="connsiteX29" fmla="*/ 830642 w 2143016"/>
                <a:gd name="connsiteY29" fmla="*/ 1913054 h 2185638"/>
                <a:gd name="connsiteX30" fmla="*/ 761257 w 2143016"/>
                <a:gd name="connsiteY30" fmla="*/ 1913054 h 2185638"/>
                <a:gd name="connsiteX31" fmla="*/ 761257 w 2143016"/>
                <a:gd name="connsiteY31" fmla="*/ 1434295 h 2185638"/>
                <a:gd name="connsiteX32" fmla="*/ 899036 w 2143016"/>
                <a:gd name="connsiteY32" fmla="*/ 1434295 h 2185638"/>
                <a:gd name="connsiteX33" fmla="*/ 900027 w 2143016"/>
                <a:gd name="connsiteY33" fmla="*/ 1434295 h 2185638"/>
                <a:gd name="connsiteX34" fmla="*/ 900027 w 2143016"/>
                <a:gd name="connsiteY34" fmla="*/ 1844659 h 2185638"/>
                <a:gd name="connsiteX35" fmla="*/ 1466014 w 2143016"/>
                <a:gd name="connsiteY35" fmla="*/ 1857546 h 2185638"/>
                <a:gd name="connsiteX36" fmla="*/ 1305436 w 2143016"/>
                <a:gd name="connsiteY36" fmla="*/ 1691020 h 2185638"/>
                <a:gd name="connsiteX37" fmla="*/ 1463040 w 2143016"/>
                <a:gd name="connsiteY37" fmla="*/ 1519540 h 2185638"/>
                <a:gd name="connsiteX38" fmla="*/ 1559188 w 2143016"/>
                <a:gd name="connsiteY38" fmla="*/ 1541346 h 2185638"/>
                <a:gd name="connsiteX39" fmla="*/ 1540355 w 2143016"/>
                <a:gd name="connsiteY39" fmla="*/ 1585951 h 2185638"/>
                <a:gd name="connsiteX40" fmla="*/ 1465022 w 2143016"/>
                <a:gd name="connsiteY40" fmla="*/ 1565136 h 2185638"/>
                <a:gd name="connsiteX41" fmla="*/ 1364909 w 2143016"/>
                <a:gd name="connsiteY41" fmla="*/ 1689038 h 2185638"/>
                <a:gd name="connsiteX42" fmla="*/ 1467996 w 2143016"/>
                <a:gd name="connsiteY42" fmla="*/ 1810958 h 2185638"/>
                <a:gd name="connsiteX43" fmla="*/ 1546303 w 2143016"/>
                <a:gd name="connsiteY43" fmla="*/ 1789151 h 2185638"/>
                <a:gd name="connsiteX44" fmla="*/ 1562162 w 2143016"/>
                <a:gd name="connsiteY44" fmla="*/ 1835739 h 2185638"/>
                <a:gd name="connsiteX45" fmla="*/ 1466014 w 2143016"/>
                <a:gd name="connsiteY45" fmla="*/ 1857546 h 2185638"/>
                <a:gd name="connsiteX46" fmla="*/ 1841686 w 2143016"/>
                <a:gd name="connsiteY46" fmla="*/ 1817897 h 2185638"/>
                <a:gd name="connsiteX47" fmla="*/ 1737608 w 2143016"/>
                <a:gd name="connsiteY47" fmla="*/ 1857546 h 2185638"/>
                <a:gd name="connsiteX48" fmla="*/ 1621635 w 2143016"/>
                <a:gd name="connsiteY48" fmla="*/ 1805011 h 2185638"/>
                <a:gd name="connsiteX49" fmla="*/ 1584960 w 2143016"/>
                <a:gd name="connsiteY49" fmla="*/ 1686064 h 2185638"/>
                <a:gd name="connsiteX50" fmla="*/ 1632539 w 2143016"/>
                <a:gd name="connsiteY50" fmla="*/ 1558197 h 2185638"/>
                <a:gd name="connsiteX51" fmla="*/ 1736617 w 2143016"/>
                <a:gd name="connsiteY51" fmla="*/ 1518548 h 2185638"/>
                <a:gd name="connsiteX52" fmla="*/ 1852589 w 2143016"/>
                <a:gd name="connsiteY52" fmla="*/ 1571083 h 2185638"/>
                <a:gd name="connsiteX53" fmla="*/ 1889265 w 2143016"/>
                <a:gd name="connsiteY53" fmla="*/ 1688047 h 2185638"/>
                <a:gd name="connsiteX54" fmla="*/ 1841686 w 2143016"/>
                <a:gd name="connsiteY54" fmla="*/ 1817897 h 2185638"/>
                <a:gd name="connsiteX55" fmla="*/ 2052816 w 2143016"/>
                <a:gd name="connsiteY55" fmla="*/ 2010193 h 2185638"/>
                <a:gd name="connsiteX56" fmla="*/ 1927922 w 2143016"/>
                <a:gd name="connsiteY56" fmla="*/ 2010193 h 2185638"/>
                <a:gd name="connsiteX57" fmla="*/ 1927922 w 2143016"/>
                <a:gd name="connsiteY57" fmla="*/ 1983430 h 2185638"/>
                <a:gd name="connsiteX58" fmla="*/ 2018123 w 2143016"/>
                <a:gd name="connsiteY58" fmla="*/ 1870431 h 2185638"/>
                <a:gd name="connsiteX59" fmla="*/ 1985413 w 2143016"/>
                <a:gd name="connsiteY59" fmla="*/ 1842677 h 2185638"/>
                <a:gd name="connsiteX60" fmla="*/ 1939817 w 2143016"/>
                <a:gd name="connsiteY60" fmla="*/ 1856554 h 2185638"/>
                <a:gd name="connsiteX61" fmla="*/ 1931887 w 2143016"/>
                <a:gd name="connsiteY61" fmla="*/ 1828800 h 2185638"/>
                <a:gd name="connsiteX62" fmla="*/ 1989378 w 2143016"/>
                <a:gd name="connsiteY62" fmla="*/ 1815914 h 2185638"/>
                <a:gd name="connsiteX63" fmla="*/ 2052816 w 2143016"/>
                <a:gd name="connsiteY63" fmla="*/ 1868449 h 2185638"/>
                <a:gd name="connsiteX64" fmla="*/ 2014158 w 2143016"/>
                <a:gd name="connsiteY64" fmla="*/ 1941799 h 2185638"/>
                <a:gd name="connsiteX65" fmla="*/ 1973518 w 2143016"/>
                <a:gd name="connsiteY65" fmla="*/ 1982439 h 2185638"/>
                <a:gd name="connsiteX66" fmla="*/ 2054798 w 2143016"/>
                <a:gd name="connsiteY66" fmla="*/ 1982439 h 2185638"/>
                <a:gd name="connsiteX67" fmla="*/ 2054798 w 2143016"/>
                <a:gd name="connsiteY67" fmla="*/ 2010193 h 218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143016" h="2185638">
                  <a:moveTo>
                    <a:pt x="1724722" y="1097280"/>
                  </a:moveTo>
                  <a:lnTo>
                    <a:pt x="1724722" y="887141"/>
                  </a:lnTo>
                  <a:cubicBezTo>
                    <a:pt x="1724722" y="774142"/>
                    <a:pt x="1632539" y="681959"/>
                    <a:pt x="1517557" y="681959"/>
                  </a:cubicBezTo>
                  <a:lnTo>
                    <a:pt x="757292" y="681959"/>
                  </a:lnTo>
                  <a:lnTo>
                    <a:pt x="757292" y="340979"/>
                  </a:lnTo>
                  <a:lnTo>
                    <a:pt x="756300" y="340979"/>
                  </a:lnTo>
                  <a:cubicBezTo>
                    <a:pt x="739450" y="150665"/>
                    <a:pt x="576890" y="0"/>
                    <a:pt x="378646" y="0"/>
                  </a:cubicBezTo>
                  <a:cubicBezTo>
                    <a:pt x="181393" y="0"/>
                    <a:pt x="17842" y="149674"/>
                    <a:pt x="991" y="340979"/>
                  </a:cubicBezTo>
                  <a:lnTo>
                    <a:pt x="0" y="340979"/>
                  </a:lnTo>
                  <a:lnTo>
                    <a:pt x="0" y="2184648"/>
                  </a:lnTo>
                  <a:lnTo>
                    <a:pt x="760265" y="2184648"/>
                  </a:lnTo>
                  <a:lnTo>
                    <a:pt x="760265" y="2048851"/>
                  </a:lnTo>
                  <a:lnTo>
                    <a:pt x="829651" y="2048851"/>
                  </a:lnTo>
                  <a:cubicBezTo>
                    <a:pt x="944632" y="2048851"/>
                    <a:pt x="1036816" y="1957658"/>
                    <a:pt x="1036816" y="1843668"/>
                  </a:cubicBezTo>
                  <a:lnTo>
                    <a:pt x="1036816" y="818747"/>
                  </a:lnTo>
                  <a:lnTo>
                    <a:pt x="1520531" y="818747"/>
                  </a:lnTo>
                  <a:cubicBezTo>
                    <a:pt x="1559188" y="818747"/>
                    <a:pt x="1589916" y="850466"/>
                    <a:pt x="1589916" y="887141"/>
                  </a:cubicBezTo>
                  <a:lnTo>
                    <a:pt x="1589916" y="1097280"/>
                  </a:lnTo>
                  <a:cubicBezTo>
                    <a:pt x="1355988" y="1130981"/>
                    <a:pt x="1175586" y="1330217"/>
                    <a:pt x="1175586" y="1571083"/>
                  </a:cubicBezTo>
                  <a:lnTo>
                    <a:pt x="1175586" y="2185639"/>
                  </a:lnTo>
                  <a:lnTo>
                    <a:pt x="2143017" y="2185639"/>
                  </a:lnTo>
                  <a:lnTo>
                    <a:pt x="2143017" y="1571083"/>
                  </a:lnTo>
                  <a:cubicBezTo>
                    <a:pt x="2143017" y="1330217"/>
                    <a:pt x="1962615" y="1130981"/>
                    <a:pt x="1724722" y="1097280"/>
                  </a:cubicBezTo>
                  <a:close/>
                  <a:moveTo>
                    <a:pt x="761257" y="818747"/>
                  </a:moveTo>
                  <a:lnTo>
                    <a:pt x="899036" y="818747"/>
                  </a:lnTo>
                  <a:lnTo>
                    <a:pt x="899036" y="1297506"/>
                  </a:lnTo>
                  <a:lnTo>
                    <a:pt x="761257" y="1297506"/>
                  </a:lnTo>
                  <a:lnTo>
                    <a:pt x="761257" y="818747"/>
                  </a:lnTo>
                  <a:close/>
                  <a:moveTo>
                    <a:pt x="900027" y="1844659"/>
                  </a:moveTo>
                  <a:cubicBezTo>
                    <a:pt x="900027" y="1883317"/>
                    <a:pt x="868308" y="1913054"/>
                    <a:pt x="830642" y="1913054"/>
                  </a:cubicBezTo>
                  <a:lnTo>
                    <a:pt x="761257" y="1913054"/>
                  </a:lnTo>
                  <a:lnTo>
                    <a:pt x="761257" y="1434295"/>
                  </a:lnTo>
                  <a:lnTo>
                    <a:pt x="899036" y="1434295"/>
                  </a:lnTo>
                  <a:lnTo>
                    <a:pt x="900027" y="1434295"/>
                  </a:lnTo>
                  <a:lnTo>
                    <a:pt x="900027" y="1844659"/>
                  </a:lnTo>
                  <a:close/>
                  <a:moveTo>
                    <a:pt x="1466014" y="1857546"/>
                  </a:moveTo>
                  <a:cubicBezTo>
                    <a:pt x="1365901" y="1857546"/>
                    <a:pt x="1305436" y="1795099"/>
                    <a:pt x="1305436" y="1691020"/>
                  </a:cubicBezTo>
                  <a:cubicBezTo>
                    <a:pt x="1305436" y="1585951"/>
                    <a:pt x="1365901" y="1519540"/>
                    <a:pt x="1463040" y="1519540"/>
                  </a:cubicBezTo>
                  <a:cubicBezTo>
                    <a:pt x="1496742" y="1519540"/>
                    <a:pt x="1524496" y="1525487"/>
                    <a:pt x="1559188" y="1541346"/>
                  </a:cubicBezTo>
                  <a:lnTo>
                    <a:pt x="1540355" y="1585951"/>
                  </a:lnTo>
                  <a:cubicBezTo>
                    <a:pt x="1511610" y="1571083"/>
                    <a:pt x="1489803" y="1565136"/>
                    <a:pt x="1465022" y="1565136"/>
                  </a:cubicBezTo>
                  <a:cubicBezTo>
                    <a:pt x="1403567" y="1565136"/>
                    <a:pt x="1364909" y="1612714"/>
                    <a:pt x="1364909" y="1689038"/>
                  </a:cubicBezTo>
                  <a:cubicBezTo>
                    <a:pt x="1364909" y="1764371"/>
                    <a:pt x="1404558" y="1810958"/>
                    <a:pt x="1467996" y="1810958"/>
                  </a:cubicBezTo>
                  <a:cubicBezTo>
                    <a:pt x="1495750" y="1810958"/>
                    <a:pt x="1513592" y="1806002"/>
                    <a:pt x="1546303" y="1789151"/>
                  </a:cubicBezTo>
                  <a:lnTo>
                    <a:pt x="1562162" y="1835739"/>
                  </a:lnTo>
                  <a:cubicBezTo>
                    <a:pt x="1526478" y="1852589"/>
                    <a:pt x="1501698" y="1857546"/>
                    <a:pt x="1466014" y="1857546"/>
                  </a:cubicBezTo>
                  <a:close/>
                  <a:moveTo>
                    <a:pt x="1841686" y="1817897"/>
                  </a:moveTo>
                  <a:cubicBezTo>
                    <a:pt x="1815914" y="1844659"/>
                    <a:pt x="1781221" y="1857546"/>
                    <a:pt x="1737608" y="1857546"/>
                  </a:cubicBezTo>
                  <a:cubicBezTo>
                    <a:pt x="1687056" y="1857546"/>
                    <a:pt x="1649389" y="1840695"/>
                    <a:pt x="1621635" y="1805011"/>
                  </a:cubicBezTo>
                  <a:cubicBezTo>
                    <a:pt x="1596855" y="1773292"/>
                    <a:pt x="1584960" y="1733643"/>
                    <a:pt x="1584960" y="1686064"/>
                  </a:cubicBezTo>
                  <a:cubicBezTo>
                    <a:pt x="1584960" y="1635512"/>
                    <a:pt x="1602802" y="1588925"/>
                    <a:pt x="1632539" y="1558197"/>
                  </a:cubicBezTo>
                  <a:cubicBezTo>
                    <a:pt x="1658310" y="1531434"/>
                    <a:pt x="1693003" y="1518548"/>
                    <a:pt x="1736617" y="1518548"/>
                  </a:cubicBezTo>
                  <a:cubicBezTo>
                    <a:pt x="1788160" y="1518548"/>
                    <a:pt x="1824835" y="1535399"/>
                    <a:pt x="1852589" y="1571083"/>
                  </a:cubicBezTo>
                  <a:cubicBezTo>
                    <a:pt x="1876379" y="1602802"/>
                    <a:pt x="1889265" y="1642451"/>
                    <a:pt x="1889265" y="1688047"/>
                  </a:cubicBezTo>
                  <a:cubicBezTo>
                    <a:pt x="1889265" y="1741573"/>
                    <a:pt x="1873405" y="1787169"/>
                    <a:pt x="1841686" y="1817897"/>
                  </a:cubicBezTo>
                  <a:close/>
                  <a:moveTo>
                    <a:pt x="2052816" y="2010193"/>
                  </a:moveTo>
                  <a:lnTo>
                    <a:pt x="1927922" y="2010193"/>
                  </a:lnTo>
                  <a:lnTo>
                    <a:pt x="1927922" y="1983430"/>
                  </a:lnTo>
                  <a:cubicBezTo>
                    <a:pt x="1996316" y="1919992"/>
                    <a:pt x="2018123" y="1893229"/>
                    <a:pt x="2018123" y="1870431"/>
                  </a:cubicBezTo>
                  <a:cubicBezTo>
                    <a:pt x="2018123" y="1853580"/>
                    <a:pt x="2005237" y="1842677"/>
                    <a:pt x="1985413" y="1842677"/>
                  </a:cubicBezTo>
                  <a:cubicBezTo>
                    <a:pt x="1972527" y="1842677"/>
                    <a:pt x="1956667" y="1847633"/>
                    <a:pt x="1939817" y="1856554"/>
                  </a:cubicBezTo>
                  <a:lnTo>
                    <a:pt x="1931887" y="1828800"/>
                  </a:lnTo>
                  <a:cubicBezTo>
                    <a:pt x="1951711" y="1819879"/>
                    <a:pt x="1969553" y="1815914"/>
                    <a:pt x="1989378" y="1815914"/>
                  </a:cubicBezTo>
                  <a:cubicBezTo>
                    <a:pt x="2029026" y="1815914"/>
                    <a:pt x="2052816" y="1835739"/>
                    <a:pt x="2052816" y="1868449"/>
                  </a:cubicBezTo>
                  <a:cubicBezTo>
                    <a:pt x="2052816" y="1892238"/>
                    <a:pt x="2042904" y="1911071"/>
                    <a:pt x="2014158" y="1941799"/>
                  </a:cubicBezTo>
                  <a:cubicBezTo>
                    <a:pt x="2001272" y="1955676"/>
                    <a:pt x="1991360" y="1966580"/>
                    <a:pt x="1973518" y="1982439"/>
                  </a:cubicBezTo>
                  <a:lnTo>
                    <a:pt x="2054798" y="1982439"/>
                  </a:lnTo>
                  <a:lnTo>
                    <a:pt x="2054798" y="2010193"/>
                  </a:lnTo>
                  <a:close/>
                </a:path>
              </a:pathLst>
            </a:custGeom>
            <a:grpFill/>
            <a:ln w="99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2F43B0E1-4CFF-FE41-8B9E-8B8AC643D561}"/>
                </a:ext>
              </a:extLst>
            </p:cNvPr>
            <p:cNvSpPr/>
            <p:nvPr/>
          </p:nvSpPr>
          <p:spPr>
            <a:xfrm>
              <a:off x="5879074" y="4113408"/>
              <a:ext cx="184367" cy="244831"/>
            </a:xfrm>
            <a:custGeom>
              <a:avLst/>
              <a:gdLst>
                <a:gd name="connsiteX0" fmla="*/ 92183 w 184366"/>
                <a:gd name="connsiteY0" fmla="*/ 0 h 244831"/>
                <a:gd name="connsiteX1" fmla="*/ 0 w 184366"/>
                <a:gd name="connsiteY1" fmla="*/ 120929 h 244831"/>
                <a:gd name="connsiteX2" fmla="*/ 92183 w 184366"/>
                <a:gd name="connsiteY2" fmla="*/ 244831 h 244831"/>
                <a:gd name="connsiteX3" fmla="*/ 184367 w 184366"/>
                <a:gd name="connsiteY3" fmla="*/ 121920 h 244831"/>
                <a:gd name="connsiteX4" fmla="*/ 92183 w 184366"/>
                <a:gd name="connsiteY4" fmla="*/ 0 h 24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366" h="244831">
                  <a:moveTo>
                    <a:pt x="92183" y="0"/>
                  </a:moveTo>
                  <a:cubicBezTo>
                    <a:pt x="35684" y="0"/>
                    <a:pt x="0" y="47579"/>
                    <a:pt x="0" y="120929"/>
                  </a:cubicBezTo>
                  <a:cubicBezTo>
                    <a:pt x="0" y="197253"/>
                    <a:pt x="34693" y="244831"/>
                    <a:pt x="92183" y="244831"/>
                  </a:cubicBezTo>
                  <a:cubicBezTo>
                    <a:pt x="148683" y="244831"/>
                    <a:pt x="184367" y="197253"/>
                    <a:pt x="184367" y="121920"/>
                  </a:cubicBezTo>
                  <a:cubicBezTo>
                    <a:pt x="184367" y="46587"/>
                    <a:pt x="148683" y="0"/>
                    <a:pt x="92183" y="0"/>
                  </a:cubicBezTo>
                  <a:close/>
                </a:path>
              </a:pathLst>
            </a:custGeom>
            <a:grpFill/>
            <a:ln w="99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7" name="Co2 4">
            <a:extLst>
              <a:ext uri="{FF2B5EF4-FFF2-40B4-BE49-F238E27FC236}">
                <a16:creationId xmlns:a16="http://schemas.microsoft.com/office/drawing/2014/main" id="{D4ABB7F4-F571-BF43-9983-DC3C397A911F}"/>
              </a:ext>
            </a:extLst>
          </p:cNvPr>
          <p:cNvGrpSpPr/>
          <p:nvPr/>
        </p:nvGrpSpPr>
        <p:grpSpPr>
          <a:xfrm>
            <a:off x="10979326" y="2882964"/>
            <a:ext cx="349912" cy="356872"/>
            <a:chOff x="5167103" y="2467393"/>
            <a:chExt cx="2143016" cy="2185638"/>
          </a:xfrm>
          <a:solidFill>
            <a:schemeClr val="tx1"/>
          </a:solidFill>
        </p:grpSpPr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BD80B191-8D80-EF4B-A45C-288F6C2A212E}"/>
                </a:ext>
              </a:extLst>
            </p:cNvPr>
            <p:cNvSpPr/>
            <p:nvPr/>
          </p:nvSpPr>
          <p:spPr>
            <a:xfrm>
              <a:off x="5167103" y="2467393"/>
              <a:ext cx="2143016" cy="2185638"/>
            </a:xfrm>
            <a:custGeom>
              <a:avLst/>
              <a:gdLst>
                <a:gd name="connsiteX0" fmla="*/ 1724722 w 2143016"/>
                <a:gd name="connsiteY0" fmla="*/ 1097280 h 2185638"/>
                <a:gd name="connsiteX1" fmla="*/ 1724722 w 2143016"/>
                <a:gd name="connsiteY1" fmla="*/ 887141 h 2185638"/>
                <a:gd name="connsiteX2" fmla="*/ 1517557 w 2143016"/>
                <a:gd name="connsiteY2" fmla="*/ 681959 h 2185638"/>
                <a:gd name="connsiteX3" fmla="*/ 757292 w 2143016"/>
                <a:gd name="connsiteY3" fmla="*/ 681959 h 2185638"/>
                <a:gd name="connsiteX4" fmla="*/ 757292 w 2143016"/>
                <a:gd name="connsiteY4" fmla="*/ 340979 h 2185638"/>
                <a:gd name="connsiteX5" fmla="*/ 756300 w 2143016"/>
                <a:gd name="connsiteY5" fmla="*/ 340979 h 2185638"/>
                <a:gd name="connsiteX6" fmla="*/ 378646 w 2143016"/>
                <a:gd name="connsiteY6" fmla="*/ 0 h 2185638"/>
                <a:gd name="connsiteX7" fmla="*/ 991 w 2143016"/>
                <a:gd name="connsiteY7" fmla="*/ 340979 h 2185638"/>
                <a:gd name="connsiteX8" fmla="*/ 0 w 2143016"/>
                <a:gd name="connsiteY8" fmla="*/ 340979 h 2185638"/>
                <a:gd name="connsiteX9" fmla="*/ 0 w 2143016"/>
                <a:gd name="connsiteY9" fmla="*/ 2184648 h 2185638"/>
                <a:gd name="connsiteX10" fmla="*/ 760265 w 2143016"/>
                <a:gd name="connsiteY10" fmla="*/ 2184648 h 2185638"/>
                <a:gd name="connsiteX11" fmla="*/ 760265 w 2143016"/>
                <a:gd name="connsiteY11" fmla="*/ 2048851 h 2185638"/>
                <a:gd name="connsiteX12" fmla="*/ 829651 w 2143016"/>
                <a:gd name="connsiteY12" fmla="*/ 2048851 h 2185638"/>
                <a:gd name="connsiteX13" fmla="*/ 1036816 w 2143016"/>
                <a:gd name="connsiteY13" fmla="*/ 1843668 h 2185638"/>
                <a:gd name="connsiteX14" fmla="*/ 1036816 w 2143016"/>
                <a:gd name="connsiteY14" fmla="*/ 818747 h 2185638"/>
                <a:gd name="connsiteX15" fmla="*/ 1520531 w 2143016"/>
                <a:gd name="connsiteY15" fmla="*/ 818747 h 2185638"/>
                <a:gd name="connsiteX16" fmla="*/ 1589916 w 2143016"/>
                <a:gd name="connsiteY16" fmla="*/ 887141 h 2185638"/>
                <a:gd name="connsiteX17" fmla="*/ 1589916 w 2143016"/>
                <a:gd name="connsiteY17" fmla="*/ 1097280 h 2185638"/>
                <a:gd name="connsiteX18" fmla="*/ 1175586 w 2143016"/>
                <a:gd name="connsiteY18" fmla="*/ 1571083 h 2185638"/>
                <a:gd name="connsiteX19" fmla="*/ 1175586 w 2143016"/>
                <a:gd name="connsiteY19" fmla="*/ 2185639 h 2185638"/>
                <a:gd name="connsiteX20" fmla="*/ 2143017 w 2143016"/>
                <a:gd name="connsiteY20" fmla="*/ 2185639 h 2185638"/>
                <a:gd name="connsiteX21" fmla="*/ 2143017 w 2143016"/>
                <a:gd name="connsiteY21" fmla="*/ 1571083 h 2185638"/>
                <a:gd name="connsiteX22" fmla="*/ 1724722 w 2143016"/>
                <a:gd name="connsiteY22" fmla="*/ 1097280 h 2185638"/>
                <a:gd name="connsiteX23" fmla="*/ 761257 w 2143016"/>
                <a:gd name="connsiteY23" fmla="*/ 818747 h 2185638"/>
                <a:gd name="connsiteX24" fmla="*/ 899036 w 2143016"/>
                <a:gd name="connsiteY24" fmla="*/ 818747 h 2185638"/>
                <a:gd name="connsiteX25" fmla="*/ 899036 w 2143016"/>
                <a:gd name="connsiteY25" fmla="*/ 1297506 h 2185638"/>
                <a:gd name="connsiteX26" fmla="*/ 761257 w 2143016"/>
                <a:gd name="connsiteY26" fmla="*/ 1297506 h 2185638"/>
                <a:gd name="connsiteX27" fmla="*/ 761257 w 2143016"/>
                <a:gd name="connsiteY27" fmla="*/ 818747 h 2185638"/>
                <a:gd name="connsiteX28" fmla="*/ 900027 w 2143016"/>
                <a:gd name="connsiteY28" fmla="*/ 1844659 h 2185638"/>
                <a:gd name="connsiteX29" fmla="*/ 830642 w 2143016"/>
                <a:gd name="connsiteY29" fmla="*/ 1913054 h 2185638"/>
                <a:gd name="connsiteX30" fmla="*/ 761257 w 2143016"/>
                <a:gd name="connsiteY30" fmla="*/ 1913054 h 2185638"/>
                <a:gd name="connsiteX31" fmla="*/ 761257 w 2143016"/>
                <a:gd name="connsiteY31" fmla="*/ 1434295 h 2185638"/>
                <a:gd name="connsiteX32" fmla="*/ 899036 w 2143016"/>
                <a:gd name="connsiteY32" fmla="*/ 1434295 h 2185638"/>
                <a:gd name="connsiteX33" fmla="*/ 900027 w 2143016"/>
                <a:gd name="connsiteY33" fmla="*/ 1434295 h 2185638"/>
                <a:gd name="connsiteX34" fmla="*/ 900027 w 2143016"/>
                <a:gd name="connsiteY34" fmla="*/ 1844659 h 2185638"/>
                <a:gd name="connsiteX35" fmla="*/ 1466014 w 2143016"/>
                <a:gd name="connsiteY35" fmla="*/ 1857546 h 2185638"/>
                <a:gd name="connsiteX36" fmla="*/ 1305436 w 2143016"/>
                <a:gd name="connsiteY36" fmla="*/ 1691020 h 2185638"/>
                <a:gd name="connsiteX37" fmla="*/ 1463040 w 2143016"/>
                <a:gd name="connsiteY37" fmla="*/ 1519540 h 2185638"/>
                <a:gd name="connsiteX38" fmla="*/ 1559188 w 2143016"/>
                <a:gd name="connsiteY38" fmla="*/ 1541346 h 2185638"/>
                <a:gd name="connsiteX39" fmla="*/ 1540355 w 2143016"/>
                <a:gd name="connsiteY39" fmla="*/ 1585951 h 2185638"/>
                <a:gd name="connsiteX40" fmla="*/ 1465022 w 2143016"/>
                <a:gd name="connsiteY40" fmla="*/ 1565136 h 2185638"/>
                <a:gd name="connsiteX41" fmla="*/ 1364909 w 2143016"/>
                <a:gd name="connsiteY41" fmla="*/ 1689038 h 2185638"/>
                <a:gd name="connsiteX42" fmla="*/ 1467996 w 2143016"/>
                <a:gd name="connsiteY42" fmla="*/ 1810958 h 2185638"/>
                <a:gd name="connsiteX43" fmla="*/ 1546303 w 2143016"/>
                <a:gd name="connsiteY43" fmla="*/ 1789151 h 2185638"/>
                <a:gd name="connsiteX44" fmla="*/ 1562162 w 2143016"/>
                <a:gd name="connsiteY44" fmla="*/ 1835739 h 2185638"/>
                <a:gd name="connsiteX45" fmla="*/ 1466014 w 2143016"/>
                <a:gd name="connsiteY45" fmla="*/ 1857546 h 2185638"/>
                <a:gd name="connsiteX46" fmla="*/ 1841686 w 2143016"/>
                <a:gd name="connsiteY46" fmla="*/ 1817897 h 2185638"/>
                <a:gd name="connsiteX47" fmla="*/ 1737608 w 2143016"/>
                <a:gd name="connsiteY47" fmla="*/ 1857546 h 2185638"/>
                <a:gd name="connsiteX48" fmla="*/ 1621635 w 2143016"/>
                <a:gd name="connsiteY48" fmla="*/ 1805011 h 2185638"/>
                <a:gd name="connsiteX49" fmla="*/ 1584960 w 2143016"/>
                <a:gd name="connsiteY49" fmla="*/ 1686064 h 2185638"/>
                <a:gd name="connsiteX50" fmla="*/ 1632539 w 2143016"/>
                <a:gd name="connsiteY50" fmla="*/ 1558197 h 2185638"/>
                <a:gd name="connsiteX51" fmla="*/ 1736617 w 2143016"/>
                <a:gd name="connsiteY51" fmla="*/ 1518548 h 2185638"/>
                <a:gd name="connsiteX52" fmla="*/ 1852589 w 2143016"/>
                <a:gd name="connsiteY52" fmla="*/ 1571083 h 2185638"/>
                <a:gd name="connsiteX53" fmla="*/ 1889265 w 2143016"/>
                <a:gd name="connsiteY53" fmla="*/ 1688047 h 2185638"/>
                <a:gd name="connsiteX54" fmla="*/ 1841686 w 2143016"/>
                <a:gd name="connsiteY54" fmla="*/ 1817897 h 2185638"/>
                <a:gd name="connsiteX55" fmla="*/ 2052816 w 2143016"/>
                <a:gd name="connsiteY55" fmla="*/ 2010193 h 2185638"/>
                <a:gd name="connsiteX56" fmla="*/ 1927922 w 2143016"/>
                <a:gd name="connsiteY56" fmla="*/ 2010193 h 2185638"/>
                <a:gd name="connsiteX57" fmla="*/ 1927922 w 2143016"/>
                <a:gd name="connsiteY57" fmla="*/ 1983430 h 2185638"/>
                <a:gd name="connsiteX58" fmla="*/ 2018123 w 2143016"/>
                <a:gd name="connsiteY58" fmla="*/ 1870431 h 2185638"/>
                <a:gd name="connsiteX59" fmla="*/ 1985413 w 2143016"/>
                <a:gd name="connsiteY59" fmla="*/ 1842677 h 2185638"/>
                <a:gd name="connsiteX60" fmla="*/ 1939817 w 2143016"/>
                <a:gd name="connsiteY60" fmla="*/ 1856554 h 2185638"/>
                <a:gd name="connsiteX61" fmla="*/ 1931887 w 2143016"/>
                <a:gd name="connsiteY61" fmla="*/ 1828800 h 2185638"/>
                <a:gd name="connsiteX62" fmla="*/ 1989378 w 2143016"/>
                <a:gd name="connsiteY62" fmla="*/ 1815914 h 2185638"/>
                <a:gd name="connsiteX63" fmla="*/ 2052816 w 2143016"/>
                <a:gd name="connsiteY63" fmla="*/ 1868449 h 2185638"/>
                <a:gd name="connsiteX64" fmla="*/ 2014158 w 2143016"/>
                <a:gd name="connsiteY64" fmla="*/ 1941799 h 2185638"/>
                <a:gd name="connsiteX65" fmla="*/ 1973518 w 2143016"/>
                <a:gd name="connsiteY65" fmla="*/ 1982439 h 2185638"/>
                <a:gd name="connsiteX66" fmla="*/ 2054798 w 2143016"/>
                <a:gd name="connsiteY66" fmla="*/ 1982439 h 2185638"/>
                <a:gd name="connsiteX67" fmla="*/ 2054798 w 2143016"/>
                <a:gd name="connsiteY67" fmla="*/ 2010193 h 218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143016" h="2185638">
                  <a:moveTo>
                    <a:pt x="1724722" y="1097280"/>
                  </a:moveTo>
                  <a:lnTo>
                    <a:pt x="1724722" y="887141"/>
                  </a:lnTo>
                  <a:cubicBezTo>
                    <a:pt x="1724722" y="774142"/>
                    <a:pt x="1632539" y="681959"/>
                    <a:pt x="1517557" y="681959"/>
                  </a:cubicBezTo>
                  <a:lnTo>
                    <a:pt x="757292" y="681959"/>
                  </a:lnTo>
                  <a:lnTo>
                    <a:pt x="757292" y="340979"/>
                  </a:lnTo>
                  <a:lnTo>
                    <a:pt x="756300" y="340979"/>
                  </a:lnTo>
                  <a:cubicBezTo>
                    <a:pt x="739450" y="150665"/>
                    <a:pt x="576890" y="0"/>
                    <a:pt x="378646" y="0"/>
                  </a:cubicBezTo>
                  <a:cubicBezTo>
                    <a:pt x="181393" y="0"/>
                    <a:pt x="17842" y="149674"/>
                    <a:pt x="991" y="340979"/>
                  </a:cubicBezTo>
                  <a:lnTo>
                    <a:pt x="0" y="340979"/>
                  </a:lnTo>
                  <a:lnTo>
                    <a:pt x="0" y="2184648"/>
                  </a:lnTo>
                  <a:lnTo>
                    <a:pt x="760265" y="2184648"/>
                  </a:lnTo>
                  <a:lnTo>
                    <a:pt x="760265" y="2048851"/>
                  </a:lnTo>
                  <a:lnTo>
                    <a:pt x="829651" y="2048851"/>
                  </a:lnTo>
                  <a:cubicBezTo>
                    <a:pt x="944632" y="2048851"/>
                    <a:pt x="1036816" y="1957658"/>
                    <a:pt x="1036816" y="1843668"/>
                  </a:cubicBezTo>
                  <a:lnTo>
                    <a:pt x="1036816" y="818747"/>
                  </a:lnTo>
                  <a:lnTo>
                    <a:pt x="1520531" y="818747"/>
                  </a:lnTo>
                  <a:cubicBezTo>
                    <a:pt x="1559188" y="818747"/>
                    <a:pt x="1589916" y="850466"/>
                    <a:pt x="1589916" y="887141"/>
                  </a:cubicBezTo>
                  <a:lnTo>
                    <a:pt x="1589916" y="1097280"/>
                  </a:lnTo>
                  <a:cubicBezTo>
                    <a:pt x="1355988" y="1130981"/>
                    <a:pt x="1175586" y="1330217"/>
                    <a:pt x="1175586" y="1571083"/>
                  </a:cubicBezTo>
                  <a:lnTo>
                    <a:pt x="1175586" y="2185639"/>
                  </a:lnTo>
                  <a:lnTo>
                    <a:pt x="2143017" y="2185639"/>
                  </a:lnTo>
                  <a:lnTo>
                    <a:pt x="2143017" y="1571083"/>
                  </a:lnTo>
                  <a:cubicBezTo>
                    <a:pt x="2143017" y="1330217"/>
                    <a:pt x="1962615" y="1130981"/>
                    <a:pt x="1724722" y="1097280"/>
                  </a:cubicBezTo>
                  <a:close/>
                  <a:moveTo>
                    <a:pt x="761257" y="818747"/>
                  </a:moveTo>
                  <a:lnTo>
                    <a:pt x="899036" y="818747"/>
                  </a:lnTo>
                  <a:lnTo>
                    <a:pt x="899036" y="1297506"/>
                  </a:lnTo>
                  <a:lnTo>
                    <a:pt x="761257" y="1297506"/>
                  </a:lnTo>
                  <a:lnTo>
                    <a:pt x="761257" y="818747"/>
                  </a:lnTo>
                  <a:close/>
                  <a:moveTo>
                    <a:pt x="900027" y="1844659"/>
                  </a:moveTo>
                  <a:cubicBezTo>
                    <a:pt x="900027" y="1883317"/>
                    <a:pt x="868308" y="1913054"/>
                    <a:pt x="830642" y="1913054"/>
                  </a:cubicBezTo>
                  <a:lnTo>
                    <a:pt x="761257" y="1913054"/>
                  </a:lnTo>
                  <a:lnTo>
                    <a:pt x="761257" y="1434295"/>
                  </a:lnTo>
                  <a:lnTo>
                    <a:pt x="899036" y="1434295"/>
                  </a:lnTo>
                  <a:lnTo>
                    <a:pt x="900027" y="1434295"/>
                  </a:lnTo>
                  <a:lnTo>
                    <a:pt x="900027" y="1844659"/>
                  </a:lnTo>
                  <a:close/>
                  <a:moveTo>
                    <a:pt x="1466014" y="1857546"/>
                  </a:moveTo>
                  <a:cubicBezTo>
                    <a:pt x="1365901" y="1857546"/>
                    <a:pt x="1305436" y="1795099"/>
                    <a:pt x="1305436" y="1691020"/>
                  </a:cubicBezTo>
                  <a:cubicBezTo>
                    <a:pt x="1305436" y="1585951"/>
                    <a:pt x="1365901" y="1519540"/>
                    <a:pt x="1463040" y="1519540"/>
                  </a:cubicBezTo>
                  <a:cubicBezTo>
                    <a:pt x="1496742" y="1519540"/>
                    <a:pt x="1524496" y="1525487"/>
                    <a:pt x="1559188" y="1541346"/>
                  </a:cubicBezTo>
                  <a:lnTo>
                    <a:pt x="1540355" y="1585951"/>
                  </a:lnTo>
                  <a:cubicBezTo>
                    <a:pt x="1511610" y="1571083"/>
                    <a:pt x="1489803" y="1565136"/>
                    <a:pt x="1465022" y="1565136"/>
                  </a:cubicBezTo>
                  <a:cubicBezTo>
                    <a:pt x="1403567" y="1565136"/>
                    <a:pt x="1364909" y="1612714"/>
                    <a:pt x="1364909" y="1689038"/>
                  </a:cubicBezTo>
                  <a:cubicBezTo>
                    <a:pt x="1364909" y="1764371"/>
                    <a:pt x="1404558" y="1810958"/>
                    <a:pt x="1467996" y="1810958"/>
                  </a:cubicBezTo>
                  <a:cubicBezTo>
                    <a:pt x="1495750" y="1810958"/>
                    <a:pt x="1513592" y="1806002"/>
                    <a:pt x="1546303" y="1789151"/>
                  </a:cubicBezTo>
                  <a:lnTo>
                    <a:pt x="1562162" y="1835739"/>
                  </a:lnTo>
                  <a:cubicBezTo>
                    <a:pt x="1526478" y="1852589"/>
                    <a:pt x="1501698" y="1857546"/>
                    <a:pt x="1466014" y="1857546"/>
                  </a:cubicBezTo>
                  <a:close/>
                  <a:moveTo>
                    <a:pt x="1841686" y="1817897"/>
                  </a:moveTo>
                  <a:cubicBezTo>
                    <a:pt x="1815914" y="1844659"/>
                    <a:pt x="1781221" y="1857546"/>
                    <a:pt x="1737608" y="1857546"/>
                  </a:cubicBezTo>
                  <a:cubicBezTo>
                    <a:pt x="1687056" y="1857546"/>
                    <a:pt x="1649389" y="1840695"/>
                    <a:pt x="1621635" y="1805011"/>
                  </a:cubicBezTo>
                  <a:cubicBezTo>
                    <a:pt x="1596855" y="1773292"/>
                    <a:pt x="1584960" y="1733643"/>
                    <a:pt x="1584960" y="1686064"/>
                  </a:cubicBezTo>
                  <a:cubicBezTo>
                    <a:pt x="1584960" y="1635512"/>
                    <a:pt x="1602802" y="1588925"/>
                    <a:pt x="1632539" y="1558197"/>
                  </a:cubicBezTo>
                  <a:cubicBezTo>
                    <a:pt x="1658310" y="1531434"/>
                    <a:pt x="1693003" y="1518548"/>
                    <a:pt x="1736617" y="1518548"/>
                  </a:cubicBezTo>
                  <a:cubicBezTo>
                    <a:pt x="1788160" y="1518548"/>
                    <a:pt x="1824835" y="1535399"/>
                    <a:pt x="1852589" y="1571083"/>
                  </a:cubicBezTo>
                  <a:cubicBezTo>
                    <a:pt x="1876379" y="1602802"/>
                    <a:pt x="1889265" y="1642451"/>
                    <a:pt x="1889265" y="1688047"/>
                  </a:cubicBezTo>
                  <a:cubicBezTo>
                    <a:pt x="1889265" y="1741573"/>
                    <a:pt x="1873405" y="1787169"/>
                    <a:pt x="1841686" y="1817897"/>
                  </a:cubicBezTo>
                  <a:close/>
                  <a:moveTo>
                    <a:pt x="2052816" y="2010193"/>
                  </a:moveTo>
                  <a:lnTo>
                    <a:pt x="1927922" y="2010193"/>
                  </a:lnTo>
                  <a:lnTo>
                    <a:pt x="1927922" y="1983430"/>
                  </a:lnTo>
                  <a:cubicBezTo>
                    <a:pt x="1996316" y="1919992"/>
                    <a:pt x="2018123" y="1893229"/>
                    <a:pt x="2018123" y="1870431"/>
                  </a:cubicBezTo>
                  <a:cubicBezTo>
                    <a:pt x="2018123" y="1853580"/>
                    <a:pt x="2005237" y="1842677"/>
                    <a:pt x="1985413" y="1842677"/>
                  </a:cubicBezTo>
                  <a:cubicBezTo>
                    <a:pt x="1972527" y="1842677"/>
                    <a:pt x="1956667" y="1847633"/>
                    <a:pt x="1939817" y="1856554"/>
                  </a:cubicBezTo>
                  <a:lnTo>
                    <a:pt x="1931887" y="1828800"/>
                  </a:lnTo>
                  <a:cubicBezTo>
                    <a:pt x="1951711" y="1819879"/>
                    <a:pt x="1969553" y="1815914"/>
                    <a:pt x="1989378" y="1815914"/>
                  </a:cubicBezTo>
                  <a:cubicBezTo>
                    <a:pt x="2029026" y="1815914"/>
                    <a:pt x="2052816" y="1835739"/>
                    <a:pt x="2052816" y="1868449"/>
                  </a:cubicBezTo>
                  <a:cubicBezTo>
                    <a:pt x="2052816" y="1892238"/>
                    <a:pt x="2042904" y="1911071"/>
                    <a:pt x="2014158" y="1941799"/>
                  </a:cubicBezTo>
                  <a:cubicBezTo>
                    <a:pt x="2001272" y="1955676"/>
                    <a:pt x="1991360" y="1966580"/>
                    <a:pt x="1973518" y="1982439"/>
                  </a:cubicBezTo>
                  <a:lnTo>
                    <a:pt x="2054798" y="1982439"/>
                  </a:lnTo>
                  <a:lnTo>
                    <a:pt x="2054798" y="2010193"/>
                  </a:lnTo>
                  <a:close/>
                </a:path>
              </a:pathLst>
            </a:custGeom>
            <a:grpFill/>
            <a:ln w="99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48293D18-7915-3B45-BDA7-4EFEB1395C79}"/>
                </a:ext>
              </a:extLst>
            </p:cNvPr>
            <p:cNvSpPr/>
            <p:nvPr/>
          </p:nvSpPr>
          <p:spPr>
            <a:xfrm>
              <a:off x="6812527" y="4033520"/>
              <a:ext cx="184366" cy="244831"/>
            </a:xfrm>
            <a:custGeom>
              <a:avLst/>
              <a:gdLst>
                <a:gd name="connsiteX0" fmla="*/ 92183 w 184366"/>
                <a:gd name="connsiteY0" fmla="*/ 0 h 244831"/>
                <a:gd name="connsiteX1" fmla="*/ 0 w 184366"/>
                <a:gd name="connsiteY1" fmla="*/ 120929 h 244831"/>
                <a:gd name="connsiteX2" fmla="*/ 92183 w 184366"/>
                <a:gd name="connsiteY2" fmla="*/ 244831 h 244831"/>
                <a:gd name="connsiteX3" fmla="*/ 184367 w 184366"/>
                <a:gd name="connsiteY3" fmla="*/ 121920 h 244831"/>
                <a:gd name="connsiteX4" fmla="*/ 92183 w 184366"/>
                <a:gd name="connsiteY4" fmla="*/ 0 h 24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366" h="244831">
                  <a:moveTo>
                    <a:pt x="92183" y="0"/>
                  </a:moveTo>
                  <a:cubicBezTo>
                    <a:pt x="35684" y="0"/>
                    <a:pt x="0" y="47579"/>
                    <a:pt x="0" y="120929"/>
                  </a:cubicBezTo>
                  <a:cubicBezTo>
                    <a:pt x="0" y="197253"/>
                    <a:pt x="34693" y="244831"/>
                    <a:pt x="92183" y="244831"/>
                  </a:cubicBezTo>
                  <a:cubicBezTo>
                    <a:pt x="148683" y="244831"/>
                    <a:pt x="184367" y="197253"/>
                    <a:pt x="184367" y="121920"/>
                  </a:cubicBezTo>
                  <a:cubicBezTo>
                    <a:pt x="184367" y="46587"/>
                    <a:pt x="148683" y="0"/>
                    <a:pt x="92183" y="0"/>
                  </a:cubicBezTo>
                  <a:close/>
                </a:path>
              </a:pathLst>
            </a:custGeom>
            <a:grpFill/>
            <a:ln w="99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2" name="Co2 3">
            <a:extLst>
              <a:ext uri="{FF2B5EF4-FFF2-40B4-BE49-F238E27FC236}">
                <a16:creationId xmlns:a16="http://schemas.microsoft.com/office/drawing/2014/main" id="{4BD63284-9D89-624E-AF84-9B701A36734D}"/>
              </a:ext>
            </a:extLst>
          </p:cNvPr>
          <p:cNvGrpSpPr/>
          <p:nvPr/>
        </p:nvGrpSpPr>
        <p:grpSpPr>
          <a:xfrm>
            <a:off x="10489289" y="3009477"/>
            <a:ext cx="511474" cy="521647"/>
            <a:chOff x="5148152" y="2539995"/>
            <a:chExt cx="2143016" cy="2185638"/>
          </a:xfrm>
          <a:solidFill>
            <a:schemeClr val="tx1"/>
          </a:solidFill>
        </p:grpSpPr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9F1BC23C-0A87-324E-B6A1-972B040932D9}"/>
                </a:ext>
              </a:extLst>
            </p:cNvPr>
            <p:cNvSpPr/>
            <p:nvPr/>
          </p:nvSpPr>
          <p:spPr>
            <a:xfrm>
              <a:off x="5148152" y="2539995"/>
              <a:ext cx="2143016" cy="2185638"/>
            </a:xfrm>
            <a:custGeom>
              <a:avLst/>
              <a:gdLst>
                <a:gd name="connsiteX0" fmla="*/ 1724722 w 2143016"/>
                <a:gd name="connsiteY0" fmla="*/ 1097280 h 2185638"/>
                <a:gd name="connsiteX1" fmla="*/ 1724722 w 2143016"/>
                <a:gd name="connsiteY1" fmla="*/ 887141 h 2185638"/>
                <a:gd name="connsiteX2" fmla="*/ 1517557 w 2143016"/>
                <a:gd name="connsiteY2" fmla="*/ 681959 h 2185638"/>
                <a:gd name="connsiteX3" fmla="*/ 757292 w 2143016"/>
                <a:gd name="connsiteY3" fmla="*/ 681959 h 2185638"/>
                <a:gd name="connsiteX4" fmla="*/ 757292 w 2143016"/>
                <a:gd name="connsiteY4" fmla="*/ 340979 h 2185638"/>
                <a:gd name="connsiteX5" fmla="*/ 756300 w 2143016"/>
                <a:gd name="connsiteY5" fmla="*/ 340979 h 2185638"/>
                <a:gd name="connsiteX6" fmla="*/ 378646 w 2143016"/>
                <a:gd name="connsiteY6" fmla="*/ 0 h 2185638"/>
                <a:gd name="connsiteX7" fmla="*/ 991 w 2143016"/>
                <a:gd name="connsiteY7" fmla="*/ 340979 h 2185638"/>
                <a:gd name="connsiteX8" fmla="*/ 0 w 2143016"/>
                <a:gd name="connsiteY8" fmla="*/ 340979 h 2185638"/>
                <a:gd name="connsiteX9" fmla="*/ 0 w 2143016"/>
                <a:gd name="connsiteY9" fmla="*/ 2184648 h 2185638"/>
                <a:gd name="connsiteX10" fmla="*/ 760265 w 2143016"/>
                <a:gd name="connsiteY10" fmla="*/ 2184648 h 2185638"/>
                <a:gd name="connsiteX11" fmla="*/ 760265 w 2143016"/>
                <a:gd name="connsiteY11" fmla="*/ 2048851 h 2185638"/>
                <a:gd name="connsiteX12" fmla="*/ 829651 w 2143016"/>
                <a:gd name="connsiteY12" fmla="*/ 2048851 h 2185638"/>
                <a:gd name="connsiteX13" fmla="*/ 1036816 w 2143016"/>
                <a:gd name="connsiteY13" fmla="*/ 1843668 h 2185638"/>
                <a:gd name="connsiteX14" fmla="*/ 1036816 w 2143016"/>
                <a:gd name="connsiteY14" fmla="*/ 818747 h 2185638"/>
                <a:gd name="connsiteX15" fmla="*/ 1520531 w 2143016"/>
                <a:gd name="connsiteY15" fmla="*/ 818747 h 2185638"/>
                <a:gd name="connsiteX16" fmla="*/ 1589916 w 2143016"/>
                <a:gd name="connsiteY16" fmla="*/ 887141 h 2185638"/>
                <a:gd name="connsiteX17" fmla="*/ 1589916 w 2143016"/>
                <a:gd name="connsiteY17" fmla="*/ 1097280 h 2185638"/>
                <a:gd name="connsiteX18" fmla="*/ 1175586 w 2143016"/>
                <a:gd name="connsiteY18" fmla="*/ 1571083 h 2185638"/>
                <a:gd name="connsiteX19" fmla="*/ 1175586 w 2143016"/>
                <a:gd name="connsiteY19" fmla="*/ 2185639 h 2185638"/>
                <a:gd name="connsiteX20" fmla="*/ 2143017 w 2143016"/>
                <a:gd name="connsiteY20" fmla="*/ 2185639 h 2185638"/>
                <a:gd name="connsiteX21" fmla="*/ 2143017 w 2143016"/>
                <a:gd name="connsiteY21" fmla="*/ 1571083 h 2185638"/>
                <a:gd name="connsiteX22" fmla="*/ 1724722 w 2143016"/>
                <a:gd name="connsiteY22" fmla="*/ 1097280 h 2185638"/>
                <a:gd name="connsiteX23" fmla="*/ 761257 w 2143016"/>
                <a:gd name="connsiteY23" fmla="*/ 818747 h 2185638"/>
                <a:gd name="connsiteX24" fmla="*/ 899036 w 2143016"/>
                <a:gd name="connsiteY24" fmla="*/ 818747 h 2185638"/>
                <a:gd name="connsiteX25" fmla="*/ 899036 w 2143016"/>
                <a:gd name="connsiteY25" fmla="*/ 1297506 h 2185638"/>
                <a:gd name="connsiteX26" fmla="*/ 761257 w 2143016"/>
                <a:gd name="connsiteY26" fmla="*/ 1297506 h 2185638"/>
                <a:gd name="connsiteX27" fmla="*/ 761257 w 2143016"/>
                <a:gd name="connsiteY27" fmla="*/ 818747 h 2185638"/>
                <a:gd name="connsiteX28" fmla="*/ 900027 w 2143016"/>
                <a:gd name="connsiteY28" fmla="*/ 1844659 h 2185638"/>
                <a:gd name="connsiteX29" fmla="*/ 830642 w 2143016"/>
                <a:gd name="connsiteY29" fmla="*/ 1913054 h 2185638"/>
                <a:gd name="connsiteX30" fmla="*/ 761257 w 2143016"/>
                <a:gd name="connsiteY30" fmla="*/ 1913054 h 2185638"/>
                <a:gd name="connsiteX31" fmla="*/ 761257 w 2143016"/>
                <a:gd name="connsiteY31" fmla="*/ 1434295 h 2185638"/>
                <a:gd name="connsiteX32" fmla="*/ 899036 w 2143016"/>
                <a:gd name="connsiteY32" fmla="*/ 1434295 h 2185638"/>
                <a:gd name="connsiteX33" fmla="*/ 900027 w 2143016"/>
                <a:gd name="connsiteY33" fmla="*/ 1434295 h 2185638"/>
                <a:gd name="connsiteX34" fmla="*/ 900027 w 2143016"/>
                <a:gd name="connsiteY34" fmla="*/ 1844659 h 2185638"/>
                <a:gd name="connsiteX35" fmla="*/ 1466014 w 2143016"/>
                <a:gd name="connsiteY35" fmla="*/ 1857546 h 2185638"/>
                <a:gd name="connsiteX36" fmla="*/ 1305436 w 2143016"/>
                <a:gd name="connsiteY36" fmla="*/ 1691020 h 2185638"/>
                <a:gd name="connsiteX37" fmla="*/ 1463040 w 2143016"/>
                <a:gd name="connsiteY37" fmla="*/ 1519540 h 2185638"/>
                <a:gd name="connsiteX38" fmla="*/ 1559188 w 2143016"/>
                <a:gd name="connsiteY38" fmla="*/ 1541346 h 2185638"/>
                <a:gd name="connsiteX39" fmla="*/ 1540355 w 2143016"/>
                <a:gd name="connsiteY39" fmla="*/ 1585951 h 2185638"/>
                <a:gd name="connsiteX40" fmla="*/ 1465022 w 2143016"/>
                <a:gd name="connsiteY40" fmla="*/ 1565136 h 2185638"/>
                <a:gd name="connsiteX41" fmla="*/ 1364909 w 2143016"/>
                <a:gd name="connsiteY41" fmla="*/ 1689038 h 2185638"/>
                <a:gd name="connsiteX42" fmla="*/ 1467996 w 2143016"/>
                <a:gd name="connsiteY42" fmla="*/ 1810958 h 2185638"/>
                <a:gd name="connsiteX43" fmla="*/ 1546303 w 2143016"/>
                <a:gd name="connsiteY43" fmla="*/ 1789151 h 2185638"/>
                <a:gd name="connsiteX44" fmla="*/ 1562162 w 2143016"/>
                <a:gd name="connsiteY44" fmla="*/ 1835739 h 2185638"/>
                <a:gd name="connsiteX45" fmla="*/ 1466014 w 2143016"/>
                <a:gd name="connsiteY45" fmla="*/ 1857546 h 2185638"/>
                <a:gd name="connsiteX46" fmla="*/ 1841686 w 2143016"/>
                <a:gd name="connsiteY46" fmla="*/ 1817897 h 2185638"/>
                <a:gd name="connsiteX47" fmla="*/ 1737608 w 2143016"/>
                <a:gd name="connsiteY47" fmla="*/ 1857546 h 2185638"/>
                <a:gd name="connsiteX48" fmla="*/ 1621635 w 2143016"/>
                <a:gd name="connsiteY48" fmla="*/ 1805011 h 2185638"/>
                <a:gd name="connsiteX49" fmla="*/ 1584960 w 2143016"/>
                <a:gd name="connsiteY49" fmla="*/ 1686064 h 2185638"/>
                <a:gd name="connsiteX50" fmla="*/ 1632539 w 2143016"/>
                <a:gd name="connsiteY50" fmla="*/ 1558197 h 2185638"/>
                <a:gd name="connsiteX51" fmla="*/ 1736617 w 2143016"/>
                <a:gd name="connsiteY51" fmla="*/ 1518548 h 2185638"/>
                <a:gd name="connsiteX52" fmla="*/ 1852589 w 2143016"/>
                <a:gd name="connsiteY52" fmla="*/ 1571083 h 2185638"/>
                <a:gd name="connsiteX53" fmla="*/ 1889265 w 2143016"/>
                <a:gd name="connsiteY53" fmla="*/ 1688047 h 2185638"/>
                <a:gd name="connsiteX54" fmla="*/ 1841686 w 2143016"/>
                <a:gd name="connsiteY54" fmla="*/ 1817897 h 2185638"/>
                <a:gd name="connsiteX55" fmla="*/ 2052816 w 2143016"/>
                <a:gd name="connsiteY55" fmla="*/ 2010193 h 2185638"/>
                <a:gd name="connsiteX56" fmla="*/ 1927922 w 2143016"/>
                <a:gd name="connsiteY56" fmla="*/ 2010193 h 2185638"/>
                <a:gd name="connsiteX57" fmla="*/ 1927922 w 2143016"/>
                <a:gd name="connsiteY57" fmla="*/ 1983430 h 2185638"/>
                <a:gd name="connsiteX58" fmla="*/ 2018123 w 2143016"/>
                <a:gd name="connsiteY58" fmla="*/ 1870431 h 2185638"/>
                <a:gd name="connsiteX59" fmla="*/ 1985413 w 2143016"/>
                <a:gd name="connsiteY59" fmla="*/ 1842677 h 2185638"/>
                <a:gd name="connsiteX60" fmla="*/ 1939817 w 2143016"/>
                <a:gd name="connsiteY60" fmla="*/ 1856554 h 2185638"/>
                <a:gd name="connsiteX61" fmla="*/ 1931887 w 2143016"/>
                <a:gd name="connsiteY61" fmla="*/ 1828800 h 2185638"/>
                <a:gd name="connsiteX62" fmla="*/ 1989378 w 2143016"/>
                <a:gd name="connsiteY62" fmla="*/ 1815914 h 2185638"/>
                <a:gd name="connsiteX63" fmla="*/ 2052816 w 2143016"/>
                <a:gd name="connsiteY63" fmla="*/ 1868449 h 2185638"/>
                <a:gd name="connsiteX64" fmla="*/ 2014158 w 2143016"/>
                <a:gd name="connsiteY64" fmla="*/ 1941799 h 2185638"/>
                <a:gd name="connsiteX65" fmla="*/ 1973518 w 2143016"/>
                <a:gd name="connsiteY65" fmla="*/ 1982439 h 2185638"/>
                <a:gd name="connsiteX66" fmla="*/ 2054798 w 2143016"/>
                <a:gd name="connsiteY66" fmla="*/ 1982439 h 2185638"/>
                <a:gd name="connsiteX67" fmla="*/ 2054798 w 2143016"/>
                <a:gd name="connsiteY67" fmla="*/ 2010193 h 218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143016" h="2185638">
                  <a:moveTo>
                    <a:pt x="1724722" y="1097280"/>
                  </a:moveTo>
                  <a:lnTo>
                    <a:pt x="1724722" y="887141"/>
                  </a:lnTo>
                  <a:cubicBezTo>
                    <a:pt x="1724722" y="774142"/>
                    <a:pt x="1632539" y="681959"/>
                    <a:pt x="1517557" y="681959"/>
                  </a:cubicBezTo>
                  <a:lnTo>
                    <a:pt x="757292" y="681959"/>
                  </a:lnTo>
                  <a:lnTo>
                    <a:pt x="757292" y="340979"/>
                  </a:lnTo>
                  <a:lnTo>
                    <a:pt x="756300" y="340979"/>
                  </a:lnTo>
                  <a:cubicBezTo>
                    <a:pt x="739450" y="150665"/>
                    <a:pt x="576890" y="0"/>
                    <a:pt x="378646" y="0"/>
                  </a:cubicBezTo>
                  <a:cubicBezTo>
                    <a:pt x="181393" y="0"/>
                    <a:pt x="17842" y="149674"/>
                    <a:pt x="991" y="340979"/>
                  </a:cubicBezTo>
                  <a:lnTo>
                    <a:pt x="0" y="340979"/>
                  </a:lnTo>
                  <a:lnTo>
                    <a:pt x="0" y="2184648"/>
                  </a:lnTo>
                  <a:lnTo>
                    <a:pt x="760265" y="2184648"/>
                  </a:lnTo>
                  <a:lnTo>
                    <a:pt x="760265" y="2048851"/>
                  </a:lnTo>
                  <a:lnTo>
                    <a:pt x="829651" y="2048851"/>
                  </a:lnTo>
                  <a:cubicBezTo>
                    <a:pt x="944632" y="2048851"/>
                    <a:pt x="1036816" y="1957658"/>
                    <a:pt x="1036816" y="1843668"/>
                  </a:cubicBezTo>
                  <a:lnTo>
                    <a:pt x="1036816" y="818747"/>
                  </a:lnTo>
                  <a:lnTo>
                    <a:pt x="1520531" y="818747"/>
                  </a:lnTo>
                  <a:cubicBezTo>
                    <a:pt x="1559188" y="818747"/>
                    <a:pt x="1589916" y="850466"/>
                    <a:pt x="1589916" y="887141"/>
                  </a:cubicBezTo>
                  <a:lnTo>
                    <a:pt x="1589916" y="1097280"/>
                  </a:lnTo>
                  <a:cubicBezTo>
                    <a:pt x="1355988" y="1130981"/>
                    <a:pt x="1175586" y="1330217"/>
                    <a:pt x="1175586" y="1571083"/>
                  </a:cubicBezTo>
                  <a:lnTo>
                    <a:pt x="1175586" y="2185639"/>
                  </a:lnTo>
                  <a:lnTo>
                    <a:pt x="2143017" y="2185639"/>
                  </a:lnTo>
                  <a:lnTo>
                    <a:pt x="2143017" y="1571083"/>
                  </a:lnTo>
                  <a:cubicBezTo>
                    <a:pt x="2143017" y="1330217"/>
                    <a:pt x="1962615" y="1130981"/>
                    <a:pt x="1724722" y="1097280"/>
                  </a:cubicBezTo>
                  <a:close/>
                  <a:moveTo>
                    <a:pt x="761257" y="818747"/>
                  </a:moveTo>
                  <a:lnTo>
                    <a:pt x="899036" y="818747"/>
                  </a:lnTo>
                  <a:lnTo>
                    <a:pt x="899036" y="1297506"/>
                  </a:lnTo>
                  <a:lnTo>
                    <a:pt x="761257" y="1297506"/>
                  </a:lnTo>
                  <a:lnTo>
                    <a:pt x="761257" y="818747"/>
                  </a:lnTo>
                  <a:close/>
                  <a:moveTo>
                    <a:pt x="900027" y="1844659"/>
                  </a:moveTo>
                  <a:cubicBezTo>
                    <a:pt x="900027" y="1883317"/>
                    <a:pt x="868308" y="1913054"/>
                    <a:pt x="830642" y="1913054"/>
                  </a:cubicBezTo>
                  <a:lnTo>
                    <a:pt x="761257" y="1913054"/>
                  </a:lnTo>
                  <a:lnTo>
                    <a:pt x="761257" y="1434295"/>
                  </a:lnTo>
                  <a:lnTo>
                    <a:pt x="899036" y="1434295"/>
                  </a:lnTo>
                  <a:lnTo>
                    <a:pt x="900027" y="1434295"/>
                  </a:lnTo>
                  <a:lnTo>
                    <a:pt x="900027" y="1844659"/>
                  </a:lnTo>
                  <a:close/>
                  <a:moveTo>
                    <a:pt x="1466014" y="1857546"/>
                  </a:moveTo>
                  <a:cubicBezTo>
                    <a:pt x="1365901" y="1857546"/>
                    <a:pt x="1305436" y="1795099"/>
                    <a:pt x="1305436" y="1691020"/>
                  </a:cubicBezTo>
                  <a:cubicBezTo>
                    <a:pt x="1305436" y="1585951"/>
                    <a:pt x="1365901" y="1519540"/>
                    <a:pt x="1463040" y="1519540"/>
                  </a:cubicBezTo>
                  <a:cubicBezTo>
                    <a:pt x="1496742" y="1519540"/>
                    <a:pt x="1524496" y="1525487"/>
                    <a:pt x="1559188" y="1541346"/>
                  </a:cubicBezTo>
                  <a:lnTo>
                    <a:pt x="1540355" y="1585951"/>
                  </a:lnTo>
                  <a:cubicBezTo>
                    <a:pt x="1511610" y="1571083"/>
                    <a:pt x="1489803" y="1565136"/>
                    <a:pt x="1465022" y="1565136"/>
                  </a:cubicBezTo>
                  <a:cubicBezTo>
                    <a:pt x="1403567" y="1565136"/>
                    <a:pt x="1364909" y="1612714"/>
                    <a:pt x="1364909" y="1689038"/>
                  </a:cubicBezTo>
                  <a:cubicBezTo>
                    <a:pt x="1364909" y="1764371"/>
                    <a:pt x="1404558" y="1810958"/>
                    <a:pt x="1467996" y="1810958"/>
                  </a:cubicBezTo>
                  <a:cubicBezTo>
                    <a:pt x="1495750" y="1810958"/>
                    <a:pt x="1513592" y="1806002"/>
                    <a:pt x="1546303" y="1789151"/>
                  </a:cubicBezTo>
                  <a:lnTo>
                    <a:pt x="1562162" y="1835739"/>
                  </a:lnTo>
                  <a:cubicBezTo>
                    <a:pt x="1526478" y="1852589"/>
                    <a:pt x="1501698" y="1857546"/>
                    <a:pt x="1466014" y="1857546"/>
                  </a:cubicBezTo>
                  <a:close/>
                  <a:moveTo>
                    <a:pt x="1841686" y="1817897"/>
                  </a:moveTo>
                  <a:cubicBezTo>
                    <a:pt x="1815914" y="1844659"/>
                    <a:pt x="1781221" y="1857546"/>
                    <a:pt x="1737608" y="1857546"/>
                  </a:cubicBezTo>
                  <a:cubicBezTo>
                    <a:pt x="1687056" y="1857546"/>
                    <a:pt x="1649389" y="1840695"/>
                    <a:pt x="1621635" y="1805011"/>
                  </a:cubicBezTo>
                  <a:cubicBezTo>
                    <a:pt x="1596855" y="1773292"/>
                    <a:pt x="1584960" y="1733643"/>
                    <a:pt x="1584960" y="1686064"/>
                  </a:cubicBezTo>
                  <a:cubicBezTo>
                    <a:pt x="1584960" y="1635512"/>
                    <a:pt x="1602802" y="1588925"/>
                    <a:pt x="1632539" y="1558197"/>
                  </a:cubicBezTo>
                  <a:cubicBezTo>
                    <a:pt x="1658310" y="1531434"/>
                    <a:pt x="1693003" y="1518548"/>
                    <a:pt x="1736617" y="1518548"/>
                  </a:cubicBezTo>
                  <a:cubicBezTo>
                    <a:pt x="1788160" y="1518548"/>
                    <a:pt x="1824835" y="1535399"/>
                    <a:pt x="1852589" y="1571083"/>
                  </a:cubicBezTo>
                  <a:cubicBezTo>
                    <a:pt x="1876379" y="1602802"/>
                    <a:pt x="1889265" y="1642451"/>
                    <a:pt x="1889265" y="1688047"/>
                  </a:cubicBezTo>
                  <a:cubicBezTo>
                    <a:pt x="1889265" y="1741573"/>
                    <a:pt x="1873405" y="1787169"/>
                    <a:pt x="1841686" y="1817897"/>
                  </a:cubicBezTo>
                  <a:close/>
                  <a:moveTo>
                    <a:pt x="2052816" y="2010193"/>
                  </a:moveTo>
                  <a:lnTo>
                    <a:pt x="1927922" y="2010193"/>
                  </a:lnTo>
                  <a:lnTo>
                    <a:pt x="1927922" y="1983430"/>
                  </a:lnTo>
                  <a:cubicBezTo>
                    <a:pt x="1996316" y="1919992"/>
                    <a:pt x="2018123" y="1893229"/>
                    <a:pt x="2018123" y="1870431"/>
                  </a:cubicBezTo>
                  <a:cubicBezTo>
                    <a:pt x="2018123" y="1853580"/>
                    <a:pt x="2005237" y="1842677"/>
                    <a:pt x="1985413" y="1842677"/>
                  </a:cubicBezTo>
                  <a:cubicBezTo>
                    <a:pt x="1972527" y="1842677"/>
                    <a:pt x="1956667" y="1847633"/>
                    <a:pt x="1939817" y="1856554"/>
                  </a:cubicBezTo>
                  <a:lnTo>
                    <a:pt x="1931887" y="1828800"/>
                  </a:lnTo>
                  <a:cubicBezTo>
                    <a:pt x="1951711" y="1819879"/>
                    <a:pt x="1969553" y="1815914"/>
                    <a:pt x="1989378" y="1815914"/>
                  </a:cubicBezTo>
                  <a:cubicBezTo>
                    <a:pt x="2029026" y="1815914"/>
                    <a:pt x="2052816" y="1835739"/>
                    <a:pt x="2052816" y="1868449"/>
                  </a:cubicBezTo>
                  <a:cubicBezTo>
                    <a:pt x="2052816" y="1892238"/>
                    <a:pt x="2042904" y="1911071"/>
                    <a:pt x="2014158" y="1941799"/>
                  </a:cubicBezTo>
                  <a:cubicBezTo>
                    <a:pt x="2001272" y="1955676"/>
                    <a:pt x="1991360" y="1966580"/>
                    <a:pt x="1973518" y="1982439"/>
                  </a:cubicBezTo>
                  <a:lnTo>
                    <a:pt x="2054798" y="1982439"/>
                  </a:lnTo>
                  <a:lnTo>
                    <a:pt x="2054798" y="2010193"/>
                  </a:lnTo>
                  <a:close/>
                </a:path>
              </a:pathLst>
            </a:custGeom>
            <a:grpFill/>
            <a:ln w="99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968BE2B5-0B66-D74B-87E4-6D3602A7884B}"/>
                </a:ext>
              </a:extLst>
            </p:cNvPr>
            <p:cNvSpPr/>
            <p:nvPr/>
          </p:nvSpPr>
          <p:spPr>
            <a:xfrm>
              <a:off x="6785722" y="4099933"/>
              <a:ext cx="184367" cy="244831"/>
            </a:xfrm>
            <a:custGeom>
              <a:avLst/>
              <a:gdLst>
                <a:gd name="connsiteX0" fmla="*/ 92183 w 184366"/>
                <a:gd name="connsiteY0" fmla="*/ 0 h 244831"/>
                <a:gd name="connsiteX1" fmla="*/ 0 w 184366"/>
                <a:gd name="connsiteY1" fmla="*/ 120929 h 244831"/>
                <a:gd name="connsiteX2" fmla="*/ 92183 w 184366"/>
                <a:gd name="connsiteY2" fmla="*/ 244831 h 244831"/>
                <a:gd name="connsiteX3" fmla="*/ 184367 w 184366"/>
                <a:gd name="connsiteY3" fmla="*/ 121920 h 244831"/>
                <a:gd name="connsiteX4" fmla="*/ 92183 w 184366"/>
                <a:gd name="connsiteY4" fmla="*/ 0 h 24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366" h="244831">
                  <a:moveTo>
                    <a:pt x="92183" y="0"/>
                  </a:moveTo>
                  <a:cubicBezTo>
                    <a:pt x="35684" y="0"/>
                    <a:pt x="0" y="47579"/>
                    <a:pt x="0" y="120929"/>
                  </a:cubicBezTo>
                  <a:cubicBezTo>
                    <a:pt x="0" y="197253"/>
                    <a:pt x="34693" y="244831"/>
                    <a:pt x="92183" y="244831"/>
                  </a:cubicBezTo>
                  <a:cubicBezTo>
                    <a:pt x="148683" y="244831"/>
                    <a:pt x="184367" y="197253"/>
                    <a:pt x="184367" y="121920"/>
                  </a:cubicBezTo>
                  <a:cubicBezTo>
                    <a:pt x="184367" y="46587"/>
                    <a:pt x="148683" y="0"/>
                    <a:pt x="92183" y="0"/>
                  </a:cubicBezTo>
                  <a:close/>
                </a:path>
              </a:pathLst>
            </a:custGeom>
            <a:grpFill/>
            <a:ln w="99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8" name="CO2 2">
            <a:extLst>
              <a:ext uri="{FF2B5EF4-FFF2-40B4-BE49-F238E27FC236}">
                <a16:creationId xmlns:a16="http://schemas.microsoft.com/office/drawing/2014/main" id="{DC930CD9-B683-1147-9D0C-2D9FEC5599AD}"/>
              </a:ext>
            </a:extLst>
          </p:cNvPr>
          <p:cNvGrpSpPr/>
          <p:nvPr/>
        </p:nvGrpSpPr>
        <p:grpSpPr>
          <a:xfrm>
            <a:off x="9040355" y="3004897"/>
            <a:ext cx="511474" cy="521647"/>
            <a:chOff x="5353192" y="2558720"/>
            <a:chExt cx="2143016" cy="2185638"/>
          </a:xfrm>
          <a:solidFill>
            <a:schemeClr val="tx1"/>
          </a:solidFill>
        </p:grpSpPr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5A374337-DCBC-8347-B935-12FA2EAD860C}"/>
                </a:ext>
              </a:extLst>
            </p:cNvPr>
            <p:cNvSpPr/>
            <p:nvPr/>
          </p:nvSpPr>
          <p:spPr>
            <a:xfrm>
              <a:off x="5353192" y="2558720"/>
              <a:ext cx="2143016" cy="2185638"/>
            </a:xfrm>
            <a:custGeom>
              <a:avLst/>
              <a:gdLst>
                <a:gd name="connsiteX0" fmla="*/ 1724722 w 2143016"/>
                <a:gd name="connsiteY0" fmla="*/ 1097280 h 2185638"/>
                <a:gd name="connsiteX1" fmla="*/ 1724722 w 2143016"/>
                <a:gd name="connsiteY1" fmla="*/ 887141 h 2185638"/>
                <a:gd name="connsiteX2" fmla="*/ 1517557 w 2143016"/>
                <a:gd name="connsiteY2" fmla="*/ 681959 h 2185638"/>
                <a:gd name="connsiteX3" fmla="*/ 757292 w 2143016"/>
                <a:gd name="connsiteY3" fmla="*/ 681959 h 2185638"/>
                <a:gd name="connsiteX4" fmla="*/ 757292 w 2143016"/>
                <a:gd name="connsiteY4" fmla="*/ 340979 h 2185638"/>
                <a:gd name="connsiteX5" fmla="*/ 756300 w 2143016"/>
                <a:gd name="connsiteY5" fmla="*/ 340979 h 2185638"/>
                <a:gd name="connsiteX6" fmla="*/ 378646 w 2143016"/>
                <a:gd name="connsiteY6" fmla="*/ 0 h 2185638"/>
                <a:gd name="connsiteX7" fmla="*/ 991 w 2143016"/>
                <a:gd name="connsiteY7" fmla="*/ 340979 h 2185638"/>
                <a:gd name="connsiteX8" fmla="*/ 0 w 2143016"/>
                <a:gd name="connsiteY8" fmla="*/ 340979 h 2185638"/>
                <a:gd name="connsiteX9" fmla="*/ 0 w 2143016"/>
                <a:gd name="connsiteY9" fmla="*/ 2184648 h 2185638"/>
                <a:gd name="connsiteX10" fmla="*/ 760265 w 2143016"/>
                <a:gd name="connsiteY10" fmla="*/ 2184648 h 2185638"/>
                <a:gd name="connsiteX11" fmla="*/ 760265 w 2143016"/>
                <a:gd name="connsiteY11" fmla="*/ 2048851 h 2185638"/>
                <a:gd name="connsiteX12" fmla="*/ 829651 w 2143016"/>
                <a:gd name="connsiteY12" fmla="*/ 2048851 h 2185638"/>
                <a:gd name="connsiteX13" fmla="*/ 1036816 w 2143016"/>
                <a:gd name="connsiteY13" fmla="*/ 1843668 h 2185638"/>
                <a:gd name="connsiteX14" fmla="*/ 1036816 w 2143016"/>
                <a:gd name="connsiteY14" fmla="*/ 818747 h 2185638"/>
                <a:gd name="connsiteX15" fmla="*/ 1520531 w 2143016"/>
                <a:gd name="connsiteY15" fmla="*/ 818747 h 2185638"/>
                <a:gd name="connsiteX16" fmla="*/ 1589916 w 2143016"/>
                <a:gd name="connsiteY16" fmla="*/ 887141 h 2185638"/>
                <a:gd name="connsiteX17" fmla="*/ 1589916 w 2143016"/>
                <a:gd name="connsiteY17" fmla="*/ 1097280 h 2185638"/>
                <a:gd name="connsiteX18" fmla="*/ 1175586 w 2143016"/>
                <a:gd name="connsiteY18" fmla="*/ 1571083 h 2185638"/>
                <a:gd name="connsiteX19" fmla="*/ 1175586 w 2143016"/>
                <a:gd name="connsiteY19" fmla="*/ 2185639 h 2185638"/>
                <a:gd name="connsiteX20" fmla="*/ 2143017 w 2143016"/>
                <a:gd name="connsiteY20" fmla="*/ 2185639 h 2185638"/>
                <a:gd name="connsiteX21" fmla="*/ 2143017 w 2143016"/>
                <a:gd name="connsiteY21" fmla="*/ 1571083 h 2185638"/>
                <a:gd name="connsiteX22" fmla="*/ 1724722 w 2143016"/>
                <a:gd name="connsiteY22" fmla="*/ 1097280 h 2185638"/>
                <a:gd name="connsiteX23" fmla="*/ 761257 w 2143016"/>
                <a:gd name="connsiteY23" fmla="*/ 818747 h 2185638"/>
                <a:gd name="connsiteX24" fmla="*/ 899036 w 2143016"/>
                <a:gd name="connsiteY24" fmla="*/ 818747 h 2185638"/>
                <a:gd name="connsiteX25" fmla="*/ 899036 w 2143016"/>
                <a:gd name="connsiteY25" fmla="*/ 1297506 h 2185638"/>
                <a:gd name="connsiteX26" fmla="*/ 761257 w 2143016"/>
                <a:gd name="connsiteY26" fmla="*/ 1297506 h 2185638"/>
                <a:gd name="connsiteX27" fmla="*/ 761257 w 2143016"/>
                <a:gd name="connsiteY27" fmla="*/ 818747 h 2185638"/>
                <a:gd name="connsiteX28" fmla="*/ 900027 w 2143016"/>
                <a:gd name="connsiteY28" fmla="*/ 1844659 h 2185638"/>
                <a:gd name="connsiteX29" fmla="*/ 830642 w 2143016"/>
                <a:gd name="connsiteY29" fmla="*/ 1913054 h 2185638"/>
                <a:gd name="connsiteX30" fmla="*/ 761257 w 2143016"/>
                <a:gd name="connsiteY30" fmla="*/ 1913054 h 2185638"/>
                <a:gd name="connsiteX31" fmla="*/ 761257 w 2143016"/>
                <a:gd name="connsiteY31" fmla="*/ 1434295 h 2185638"/>
                <a:gd name="connsiteX32" fmla="*/ 899036 w 2143016"/>
                <a:gd name="connsiteY32" fmla="*/ 1434295 h 2185638"/>
                <a:gd name="connsiteX33" fmla="*/ 900027 w 2143016"/>
                <a:gd name="connsiteY33" fmla="*/ 1434295 h 2185638"/>
                <a:gd name="connsiteX34" fmla="*/ 900027 w 2143016"/>
                <a:gd name="connsiteY34" fmla="*/ 1844659 h 2185638"/>
                <a:gd name="connsiteX35" fmla="*/ 1466014 w 2143016"/>
                <a:gd name="connsiteY35" fmla="*/ 1857546 h 2185638"/>
                <a:gd name="connsiteX36" fmla="*/ 1305436 w 2143016"/>
                <a:gd name="connsiteY36" fmla="*/ 1691020 h 2185638"/>
                <a:gd name="connsiteX37" fmla="*/ 1463040 w 2143016"/>
                <a:gd name="connsiteY37" fmla="*/ 1519540 h 2185638"/>
                <a:gd name="connsiteX38" fmla="*/ 1559188 w 2143016"/>
                <a:gd name="connsiteY38" fmla="*/ 1541346 h 2185638"/>
                <a:gd name="connsiteX39" fmla="*/ 1540355 w 2143016"/>
                <a:gd name="connsiteY39" fmla="*/ 1585951 h 2185638"/>
                <a:gd name="connsiteX40" fmla="*/ 1465022 w 2143016"/>
                <a:gd name="connsiteY40" fmla="*/ 1565136 h 2185638"/>
                <a:gd name="connsiteX41" fmla="*/ 1364909 w 2143016"/>
                <a:gd name="connsiteY41" fmla="*/ 1689038 h 2185638"/>
                <a:gd name="connsiteX42" fmla="*/ 1467996 w 2143016"/>
                <a:gd name="connsiteY42" fmla="*/ 1810958 h 2185638"/>
                <a:gd name="connsiteX43" fmla="*/ 1546303 w 2143016"/>
                <a:gd name="connsiteY43" fmla="*/ 1789151 h 2185638"/>
                <a:gd name="connsiteX44" fmla="*/ 1562162 w 2143016"/>
                <a:gd name="connsiteY44" fmla="*/ 1835739 h 2185638"/>
                <a:gd name="connsiteX45" fmla="*/ 1466014 w 2143016"/>
                <a:gd name="connsiteY45" fmla="*/ 1857546 h 2185638"/>
                <a:gd name="connsiteX46" fmla="*/ 1841686 w 2143016"/>
                <a:gd name="connsiteY46" fmla="*/ 1817897 h 2185638"/>
                <a:gd name="connsiteX47" fmla="*/ 1737608 w 2143016"/>
                <a:gd name="connsiteY47" fmla="*/ 1857546 h 2185638"/>
                <a:gd name="connsiteX48" fmla="*/ 1621635 w 2143016"/>
                <a:gd name="connsiteY48" fmla="*/ 1805011 h 2185638"/>
                <a:gd name="connsiteX49" fmla="*/ 1584960 w 2143016"/>
                <a:gd name="connsiteY49" fmla="*/ 1686064 h 2185638"/>
                <a:gd name="connsiteX50" fmla="*/ 1632539 w 2143016"/>
                <a:gd name="connsiteY50" fmla="*/ 1558197 h 2185638"/>
                <a:gd name="connsiteX51" fmla="*/ 1736617 w 2143016"/>
                <a:gd name="connsiteY51" fmla="*/ 1518548 h 2185638"/>
                <a:gd name="connsiteX52" fmla="*/ 1852589 w 2143016"/>
                <a:gd name="connsiteY52" fmla="*/ 1571083 h 2185638"/>
                <a:gd name="connsiteX53" fmla="*/ 1889265 w 2143016"/>
                <a:gd name="connsiteY53" fmla="*/ 1688047 h 2185638"/>
                <a:gd name="connsiteX54" fmla="*/ 1841686 w 2143016"/>
                <a:gd name="connsiteY54" fmla="*/ 1817897 h 2185638"/>
                <a:gd name="connsiteX55" fmla="*/ 2052816 w 2143016"/>
                <a:gd name="connsiteY55" fmla="*/ 2010193 h 2185638"/>
                <a:gd name="connsiteX56" fmla="*/ 1927922 w 2143016"/>
                <a:gd name="connsiteY56" fmla="*/ 2010193 h 2185638"/>
                <a:gd name="connsiteX57" fmla="*/ 1927922 w 2143016"/>
                <a:gd name="connsiteY57" fmla="*/ 1983430 h 2185638"/>
                <a:gd name="connsiteX58" fmla="*/ 2018123 w 2143016"/>
                <a:gd name="connsiteY58" fmla="*/ 1870431 h 2185638"/>
                <a:gd name="connsiteX59" fmla="*/ 1985413 w 2143016"/>
                <a:gd name="connsiteY59" fmla="*/ 1842677 h 2185638"/>
                <a:gd name="connsiteX60" fmla="*/ 1939817 w 2143016"/>
                <a:gd name="connsiteY60" fmla="*/ 1856554 h 2185638"/>
                <a:gd name="connsiteX61" fmla="*/ 1931887 w 2143016"/>
                <a:gd name="connsiteY61" fmla="*/ 1828800 h 2185638"/>
                <a:gd name="connsiteX62" fmla="*/ 1989378 w 2143016"/>
                <a:gd name="connsiteY62" fmla="*/ 1815914 h 2185638"/>
                <a:gd name="connsiteX63" fmla="*/ 2052816 w 2143016"/>
                <a:gd name="connsiteY63" fmla="*/ 1868449 h 2185638"/>
                <a:gd name="connsiteX64" fmla="*/ 2014158 w 2143016"/>
                <a:gd name="connsiteY64" fmla="*/ 1941799 h 2185638"/>
                <a:gd name="connsiteX65" fmla="*/ 1973518 w 2143016"/>
                <a:gd name="connsiteY65" fmla="*/ 1982439 h 2185638"/>
                <a:gd name="connsiteX66" fmla="*/ 2054798 w 2143016"/>
                <a:gd name="connsiteY66" fmla="*/ 1982439 h 2185638"/>
                <a:gd name="connsiteX67" fmla="*/ 2054798 w 2143016"/>
                <a:gd name="connsiteY67" fmla="*/ 2010193 h 2185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143016" h="2185638">
                  <a:moveTo>
                    <a:pt x="1724722" y="1097280"/>
                  </a:moveTo>
                  <a:lnTo>
                    <a:pt x="1724722" y="887141"/>
                  </a:lnTo>
                  <a:cubicBezTo>
                    <a:pt x="1724722" y="774142"/>
                    <a:pt x="1632539" y="681959"/>
                    <a:pt x="1517557" y="681959"/>
                  </a:cubicBezTo>
                  <a:lnTo>
                    <a:pt x="757292" y="681959"/>
                  </a:lnTo>
                  <a:lnTo>
                    <a:pt x="757292" y="340979"/>
                  </a:lnTo>
                  <a:lnTo>
                    <a:pt x="756300" y="340979"/>
                  </a:lnTo>
                  <a:cubicBezTo>
                    <a:pt x="739450" y="150665"/>
                    <a:pt x="576890" y="0"/>
                    <a:pt x="378646" y="0"/>
                  </a:cubicBezTo>
                  <a:cubicBezTo>
                    <a:pt x="181393" y="0"/>
                    <a:pt x="17842" y="149674"/>
                    <a:pt x="991" y="340979"/>
                  </a:cubicBezTo>
                  <a:lnTo>
                    <a:pt x="0" y="340979"/>
                  </a:lnTo>
                  <a:lnTo>
                    <a:pt x="0" y="2184648"/>
                  </a:lnTo>
                  <a:lnTo>
                    <a:pt x="760265" y="2184648"/>
                  </a:lnTo>
                  <a:lnTo>
                    <a:pt x="760265" y="2048851"/>
                  </a:lnTo>
                  <a:lnTo>
                    <a:pt x="829651" y="2048851"/>
                  </a:lnTo>
                  <a:cubicBezTo>
                    <a:pt x="944632" y="2048851"/>
                    <a:pt x="1036816" y="1957658"/>
                    <a:pt x="1036816" y="1843668"/>
                  </a:cubicBezTo>
                  <a:lnTo>
                    <a:pt x="1036816" y="818747"/>
                  </a:lnTo>
                  <a:lnTo>
                    <a:pt x="1520531" y="818747"/>
                  </a:lnTo>
                  <a:cubicBezTo>
                    <a:pt x="1559188" y="818747"/>
                    <a:pt x="1589916" y="850466"/>
                    <a:pt x="1589916" y="887141"/>
                  </a:cubicBezTo>
                  <a:lnTo>
                    <a:pt x="1589916" y="1097280"/>
                  </a:lnTo>
                  <a:cubicBezTo>
                    <a:pt x="1355988" y="1130981"/>
                    <a:pt x="1175586" y="1330217"/>
                    <a:pt x="1175586" y="1571083"/>
                  </a:cubicBezTo>
                  <a:lnTo>
                    <a:pt x="1175586" y="2185639"/>
                  </a:lnTo>
                  <a:lnTo>
                    <a:pt x="2143017" y="2185639"/>
                  </a:lnTo>
                  <a:lnTo>
                    <a:pt x="2143017" y="1571083"/>
                  </a:lnTo>
                  <a:cubicBezTo>
                    <a:pt x="2143017" y="1330217"/>
                    <a:pt x="1962615" y="1130981"/>
                    <a:pt x="1724722" y="1097280"/>
                  </a:cubicBezTo>
                  <a:close/>
                  <a:moveTo>
                    <a:pt x="761257" y="818747"/>
                  </a:moveTo>
                  <a:lnTo>
                    <a:pt x="899036" y="818747"/>
                  </a:lnTo>
                  <a:lnTo>
                    <a:pt x="899036" y="1297506"/>
                  </a:lnTo>
                  <a:lnTo>
                    <a:pt x="761257" y="1297506"/>
                  </a:lnTo>
                  <a:lnTo>
                    <a:pt x="761257" y="818747"/>
                  </a:lnTo>
                  <a:close/>
                  <a:moveTo>
                    <a:pt x="900027" y="1844659"/>
                  </a:moveTo>
                  <a:cubicBezTo>
                    <a:pt x="900027" y="1883317"/>
                    <a:pt x="868308" y="1913054"/>
                    <a:pt x="830642" y="1913054"/>
                  </a:cubicBezTo>
                  <a:lnTo>
                    <a:pt x="761257" y="1913054"/>
                  </a:lnTo>
                  <a:lnTo>
                    <a:pt x="761257" y="1434295"/>
                  </a:lnTo>
                  <a:lnTo>
                    <a:pt x="899036" y="1434295"/>
                  </a:lnTo>
                  <a:lnTo>
                    <a:pt x="900027" y="1434295"/>
                  </a:lnTo>
                  <a:lnTo>
                    <a:pt x="900027" y="1844659"/>
                  </a:lnTo>
                  <a:close/>
                  <a:moveTo>
                    <a:pt x="1466014" y="1857546"/>
                  </a:moveTo>
                  <a:cubicBezTo>
                    <a:pt x="1365901" y="1857546"/>
                    <a:pt x="1305436" y="1795099"/>
                    <a:pt x="1305436" y="1691020"/>
                  </a:cubicBezTo>
                  <a:cubicBezTo>
                    <a:pt x="1305436" y="1585951"/>
                    <a:pt x="1365901" y="1519540"/>
                    <a:pt x="1463040" y="1519540"/>
                  </a:cubicBezTo>
                  <a:cubicBezTo>
                    <a:pt x="1496742" y="1519540"/>
                    <a:pt x="1524496" y="1525487"/>
                    <a:pt x="1559188" y="1541346"/>
                  </a:cubicBezTo>
                  <a:lnTo>
                    <a:pt x="1540355" y="1585951"/>
                  </a:lnTo>
                  <a:cubicBezTo>
                    <a:pt x="1511610" y="1571083"/>
                    <a:pt x="1489803" y="1565136"/>
                    <a:pt x="1465022" y="1565136"/>
                  </a:cubicBezTo>
                  <a:cubicBezTo>
                    <a:pt x="1403567" y="1565136"/>
                    <a:pt x="1364909" y="1612714"/>
                    <a:pt x="1364909" y="1689038"/>
                  </a:cubicBezTo>
                  <a:cubicBezTo>
                    <a:pt x="1364909" y="1764371"/>
                    <a:pt x="1404558" y="1810958"/>
                    <a:pt x="1467996" y="1810958"/>
                  </a:cubicBezTo>
                  <a:cubicBezTo>
                    <a:pt x="1495750" y="1810958"/>
                    <a:pt x="1513592" y="1806002"/>
                    <a:pt x="1546303" y="1789151"/>
                  </a:cubicBezTo>
                  <a:lnTo>
                    <a:pt x="1562162" y="1835739"/>
                  </a:lnTo>
                  <a:cubicBezTo>
                    <a:pt x="1526478" y="1852589"/>
                    <a:pt x="1501698" y="1857546"/>
                    <a:pt x="1466014" y="1857546"/>
                  </a:cubicBezTo>
                  <a:close/>
                  <a:moveTo>
                    <a:pt x="1841686" y="1817897"/>
                  </a:moveTo>
                  <a:cubicBezTo>
                    <a:pt x="1815914" y="1844659"/>
                    <a:pt x="1781221" y="1857546"/>
                    <a:pt x="1737608" y="1857546"/>
                  </a:cubicBezTo>
                  <a:cubicBezTo>
                    <a:pt x="1687056" y="1857546"/>
                    <a:pt x="1649389" y="1840695"/>
                    <a:pt x="1621635" y="1805011"/>
                  </a:cubicBezTo>
                  <a:cubicBezTo>
                    <a:pt x="1596855" y="1773292"/>
                    <a:pt x="1584960" y="1733643"/>
                    <a:pt x="1584960" y="1686064"/>
                  </a:cubicBezTo>
                  <a:cubicBezTo>
                    <a:pt x="1584960" y="1635512"/>
                    <a:pt x="1602802" y="1588925"/>
                    <a:pt x="1632539" y="1558197"/>
                  </a:cubicBezTo>
                  <a:cubicBezTo>
                    <a:pt x="1658310" y="1531434"/>
                    <a:pt x="1693003" y="1518548"/>
                    <a:pt x="1736617" y="1518548"/>
                  </a:cubicBezTo>
                  <a:cubicBezTo>
                    <a:pt x="1788160" y="1518548"/>
                    <a:pt x="1824835" y="1535399"/>
                    <a:pt x="1852589" y="1571083"/>
                  </a:cubicBezTo>
                  <a:cubicBezTo>
                    <a:pt x="1876379" y="1602802"/>
                    <a:pt x="1889265" y="1642451"/>
                    <a:pt x="1889265" y="1688047"/>
                  </a:cubicBezTo>
                  <a:cubicBezTo>
                    <a:pt x="1889265" y="1741573"/>
                    <a:pt x="1873405" y="1787169"/>
                    <a:pt x="1841686" y="1817897"/>
                  </a:cubicBezTo>
                  <a:close/>
                  <a:moveTo>
                    <a:pt x="2052816" y="2010193"/>
                  </a:moveTo>
                  <a:lnTo>
                    <a:pt x="1927922" y="2010193"/>
                  </a:lnTo>
                  <a:lnTo>
                    <a:pt x="1927922" y="1983430"/>
                  </a:lnTo>
                  <a:cubicBezTo>
                    <a:pt x="1996316" y="1919992"/>
                    <a:pt x="2018123" y="1893229"/>
                    <a:pt x="2018123" y="1870431"/>
                  </a:cubicBezTo>
                  <a:cubicBezTo>
                    <a:pt x="2018123" y="1853580"/>
                    <a:pt x="2005237" y="1842677"/>
                    <a:pt x="1985413" y="1842677"/>
                  </a:cubicBezTo>
                  <a:cubicBezTo>
                    <a:pt x="1972527" y="1842677"/>
                    <a:pt x="1956667" y="1847633"/>
                    <a:pt x="1939817" y="1856554"/>
                  </a:cubicBezTo>
                  <a:lnTo>
                    <a:pt x="1931887" y="1828800"/>
                  </a:lnTo>
                  <a:cubicBezTo>
                    <a:pt x="1951711" y="1819879"/>
                    <a:pt x="1969553" y="1815914"/>
                    <a:pt x="1989378" y="1815914"/>
                  </a:cubicBezTo>
                  <a:cubicBezTo>
                    <a:pt x="2029026" y="1815914"/>
                    <a:pt x="2052816" y="1835739"/>
                    <a:pt x="2052816" y="1868449"/>
                  </a:cubicBezTo>
                  <a:cubicBezTo>
                    <a:pt x="2052816" y="1892238"/>
                    <a:pt x="2042904" y="1911071"/>
                    <a:pt x="2014158" y="1941799"/>
                  </a:cubicBezTo>
                  <a:cubicBezTo>
                    <a:pt x="2001272" y="1955676"/>
                    <a:pt x="1991360" y="1966580"/>
                    <a:pt x="1973518" y="1982439"/>
                  </a:cubicBezTo>
                  <a:lnTo>
                    <a:pt x="2054798" y="1982439"/>
                  </a:lnTo>
                  <a:lnTo>
                    <a:pt x="2054798" y="2010193"/>
                  </a:lnTo>
                  <a:close/>
                </a:path>
              </a:pathLst>
            </a:custGeom>
            <a:grpFill/>
            <a:ln w="99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74D1C0FB-E37F-F04F-8778-3CACD9BB7DD0}"/>
                </a:ext>
              </a:extLst>
            </p:cNvPr>
            <p:cNvSpPr/>
            <p:nvPr/>
          </p:nvSpPr>
          <p:spPr>
            <a:xfrm>
              <a:off x="6995940" y="4125270"/>
              <a:ext cx="184367" cy="244831"/>
            </a:xfrm>
            <a:custGeom>
              <a:avLst/>
              <a:gdLst>
                <a:gd name="connsiteX0" fmla="*/ 92183 w 184366"/>
                <a:gd name="connsiteY0" fmla="*/ 0 h 244831"/>
                <a:gd name="connsiteX1" fmla="*/ 0 w 184366"/>
                <a:gd name="connsiteY1" fmla="*/ 120929 h 244831"/>
                <a:gd name="connsiteX2" fmla="*/ 92183 w 184366"/>
                <a:gd name="connsiteY2" fmla="*/ 244831 h 244831"/>
                <a:gd name="connsiteX3" fmla="*/ 184367 w 184366"/>
                <a:gd name="connsiteY3" fmla="*/ 121920 h 244831"/>
                <a:gd name="connsiteX4" fmla="*/ 92183 w 184366"/>
                <a:gd name="connsiteY4" fmla="*/ 0 h 244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366" h="244831">
                  <a:moveTo>
                    <a:pt x="92183" y="0"/>
                  </a:moveTo>
                  <a:cubicBezTo>
                    <a:pt x="35684" y="0"/>
                    <a:pt x="0" y="47579"/>
                    <a:pt x="0" y="120929"/>
                  </a:cubicBezTo>
                  <a:cubicBezTo>
                    <a:pt x="0" y="197253"/>
                    <a:pt x="34693" y="244831"/>
                    <a:pt x="92183" y="244831"/>
                  </a:cubicBezTo>
                  <a:cubicBezTo>
                    <a:pt x="148683" y="244831"/>
                    <a:pt x="184367" y="197253"/>
                    <a:pt x="184367" y="121920"/>
                  </a:cubicBezTo>
                  <a:cubicBezTo>
                    <a:pt x="184367" y="46587"/>
                    <a:pt x="148683" y="0"/>
                    <a:pt x="92183" y="0"/>
                  </a:cubicBezTo>
                  <a:close/>
                </a:path>
              </a:pathLst>
            </a:custGeom>
            <a:grpFill/>
            <a:ln w="991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1" name="Target 200-500TWh ">
            <a:extLst>
              <a:ext uri="{FF2B5EF4-FFF2-40B4-BE49-F238E27FC236}">
                <a16:creationId xmlns:a16="http://schemas.microsoft.com/office/drawing/2014/main" id="{0478C778-13A4-9745-9D7C-01636E3C851D}"/>
              </a:ext>
            </a:extLst>
          </p:cNvPr>
          <p:cNvSpPr/>
          <p:nvPr/>
        </p:nvSpPr>
        <p:spPr>
          <a:xfrm>
            <a:off x="10316168" y="1422755"/>
            <a:ext cx="1397977" cy="324000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Target 200-500TWh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 each year by 2050</a:t>
            </a:r>
          </a:p>
        </p:txBody>
      </p:sp>
      <p:sp>
        <p:nvSpPr>
          <p:cNvPr id="112" name="Target 6-10GW ">
            <a:extLst>
              <a:ext uri="{FF2B5EF4-FFF2-40B4-BE49-F238E27FC236}">
                <a16:creationId xmlns:a16="http://schemas.microsoft.com/office/drawing/2014/main" id="{EFEB2874-1540-2942-942F-6A143E61A6ED}"/>
              </a:ext>
            </a:extLst>
          </p:cNvPr>
          <p:cNvSpPr/>
          <p:nvPr/>
        </p:nvSpPr>
        <p:spPr>
          <a:xfrm>
            <a:off x="8059823" y="1477033"/>
            <a:ext cx="2150674" cy="215444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Target 6-10GW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 production by 2030</a:t>
            </a:r>
          </a:p>
        </p:txBody>
      </p:sp>
      <p:sp>
        <p:nvSpPr>
          <p:cNvPr id="113" name="Annual calls ">
            <a:extLst>
              <a:ext uri="{FF2B5EF4-FFF2-40B4-BE49-F238E27FC236}">
                <a16:creationId xmlns:a16="http://schemas.microsoft.com/office/drawing/2014/main" id="{294B428D-AB0A-6C46-BA05-FABA93D652D8}"/>
              </a:ext>
            </a:extLst>
          </p:cNvPr>
          <p:cNvSpPr/>
          <p:nvPr/>
        </p:nvSpPr>
        <p:spPr>
          <a:xfrm>
            <a:off x="2181828" y="1422755"/>
            <a:ext cx="2887370" cy="324000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Annual calls for electrolyser projects create a visible pipeline of work to build supply chain and reduce costs</a:t>
            </a:r>
          </a:p>
        </p:txBody>
      </p:sp>
      <p:sp>
        <p:nvSpPr>
          <p:cNvPr id="114" name="Pathfinder">
            <a:extLst>
              <a:ext uri="{FF2B5EF4-FFF2-40B4-BE49-F238E27FC236}">
                <a16:creationId xmlns:a16="http://schemas.microsoft.com/office/drawing/2014/main" id="{7EB2E5B1-0211-704D-A6AD-8BF14F2B640F}"/>
              </a:ext>
            </a:extLst>
          </p:cNvPr>
          <p:cNvSpPr/>
          <p:nvPr/>
        </p:nvSpPr>
        <p:spPr>
          <a:xfrm>
            <a:off x="627063" y="1422755"/>
            <a:ext cx="1449095" cy="324000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Pathfinder funding for electrolyser projects</a:t>
            </a:r>
          </a:p>
        </p:txBody>
      </p:sp>
      <p:sp>
        <p:nvSpPr>
          <p:cNvPr id="115" name="Market mechanism ">
            <a:extLst>
              <a:ext uri="{FF2B5EF4-FFF2-40B4-BE49-F238E27FC236}">
                <a16:creationId xmlns:a16="http://schemas.microsoft.com/office/drawing/2014/main" id="{BB645297-C021-B14A-87D1-690A52F86B46}"/>
              </a:ext>
            </a:extLst>
          </p:cNvPr>
          <p:cNvSpPr/>
          <p:nvPr/>
        </p:nvSpPr>
        <p:spPr>
          <a:xfrm>
            <a:off x="5174868" y="1422755"/>
            <a:ext cx="2779285" cy="324000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Market mechanism for low CO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 dispatchable power for Wind to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 </a:t>
            </a:r>
          </a:p>
        </p:txBody>
      </p:sp>
      <p:sp>
        <p:nvSpPr>
          <p:cNvPr id="116" name="1-20MW electrolyser ">
            <a:extLst>
              <a:ext uri="{FF2B5EF4-FFF2-40B4-BE49-F238E27FC236}">
                <a16:creationId xmlns:a16="http://schemas.microsoft.com/office/drawing/2014/main" id="{9C4AD28F-B3F7-A040-9CC1-0663F0CB1F33}"/>
              </a:ext>
            </a:extLst>
          </p:cNvPr>
          <p:cNvSpPr/>
          <p:nvPr/>
        </p:nvSpPr>
        <p:spPr>
          <a:xfrm>
            <a:off x="1099093" y="2457613"/>
            <a:ext cx="183251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1-20MW electrolyser projects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2201CD70-AE03-6441-A488-21A2BB209889}"/>
              </a:ext>
            </a:extLst>
          </p:cNvPr>
          <p:cNvSpPr/>
          <p:nvPr/>
        </p:nvSpPr>
        <p:spPr>
          <a:xfrm>
            <a:off x="3840189" y="2457613"/>
            <a:ext cx="200676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50-100MW electrolyser projects</a:t>
            </a:r>
          </a:p>
        </p:txBody>
      </p:sp>
      <p:sp>
        <p:nvSpPr>
          <p:cNvPr id="119" name="GW scale wind ">
            <a:extLst>
              <a:ext uri="{FF2B5EF4-FFF2-40B4-BE49-F238E27FC236}">
                <a16:creationId xmlns:a16="http://schemas.microsoft.com/office/drawing/2014/main" id="{4426B969-EB57-594E-BF03-C5315BF7AC07}"/>
              </a:ext>
            </a:extLst>
          </p:cNvPr>
          <p:cNvSpPr/>
          <p:nvPr/>
        </p:nvSpPr>
        <p:spPr>
          <a:xfrm>
            <a:off x="9172525" y="2457613"/>
            <a:ext cx="185700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GW scale wind to H2 projects</a:t>
            </a:r>
          </a:p>
        </p:txBody>
      </p:sp>
      <p:sp>
        <p:nvSpPr>
          <p:cNvPr id="121" name="Electrolyser factory ">
            <a:extLst>
              <a:ext uri="{FF2B5EF4-FFF2-40B4-BE49-F238E27FC236}">
                <a16:creationId xmlns:a16="http://schemas.microsoft.com/office/drawing/2014/main" id="{C0921CDC-ED6E-814F-95F0-860CA8E87E99}"/>
              </a:ext>
            </a:extLst>
          </p:cNvPr>
          <p:cNvSpPr/>
          <p:nvPr/>
        </p:nvSpPr>
        <p:spPr>
          <a:xfrm>
            <a:off x="3470018" y="2737994"/>
            <a:ext cx="2747111" cy="2172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Electrolyser factory &amp; wind to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investment decisions</a:t>
            </a:r>
          </a:p>
        </p:txBody>
      </p:sp>
      <p:sp>
        <p:nvSpPr>
          <p:cNvPr id="122" name="1st offshore wind ">
            <a:extLst>
              <a:ext uri="{FF2B5EF4-FFF2-40B4-BE49-F238E27FC236}">
                <a16:creationId xmlns:a16="http://schemas.microsoft.com/office/drawing/2014/main" id="{418FBBD6-4FE0-FB4B-9F86-187E270A6CE2}"/>
              </a:ext>
            </a:extLst>
          </p:cNvPr>
          <p:cNvSpPr/>
          <p:nvPr/>
        </p:nvSpPr>
        <p:spPr>
          <a:xfrm>
            <a:off x="5936819" y="2439644"/>
            <a:ext cx="1264544" cy="3526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1st offshore wind to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electrolyser project</a:t>
            </a:r>
          </a:p>
        </p:txBody>
      </p:sp>
      <p:sp>
        <p:nvSpPr>
          <p:cNvPr id="123" name="ISCF Hydeploy ">
            <a:extLst>
              <a:ext uri="{FF2B5EF4-FFF2-40B4-BE49-F238E27FC236}">
                <a16:creationId xmlns:a16="http://schemas.microsoft.com/office/drawing/2014/main" id="{20CCF097-3A56-7C41-BFBF-A960E7CB259A}"/>
              </a:ext>
            </a:extLst>
          </p:cNvPr>
          <p:cNvSpPr/>
          <p:nvPr/>
        </p:nvSpPr>
        <p:spPr>
          <a:xfrm>
            <a:off x="627295" y="4555855"/>
            <a:ext cx="1158757" cy="48808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SCF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Hydeploy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Industrial fuel switching Etc.</a:t>
            </a:r>
          </a:p>
        </p:txBody>
      </p:sp>
      <p:sp>
        <p:nvSpPr>
          <p:cNvPr id="124" name="FEED match funding&#10;">
            <a:extLst>
              <a:ext uri="{FF2B5EF4-FFF2-40B4-BE49-F238E27FC236}">
                <a16:creationId xmlns:a16="http://schemas.microsoft.com/office/drawing/2014/main" id="{64E99E92-2008-024B-AC69-8AC156740512}"/>
              </a:ext>
            </a:extLst>
          </p:cNvPr>
          <p:cNvSpPr/>
          <p:nvPr/>
        </p:nvSpPr>
        <p:spPr>
          <a:xfrm>
            <a:off x="635063" y="5898628"/>
            <a:ext cx="1150990" cy="21723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EED match funding</a:t>
            </a:r>
          </a:p>
        </p:txBody>
      </p:sp>
      <p:sp>
        <p:nvSpPr>
          <p:cNvPr id="125" name="CCS cluster">
            <a:extLst>
              <a:ext uri="{FF2B5EF4-FFF2-40B4-BE49-F238E27FC236}">
                <a16:creationId xmlns:a16="http://schemas.microsoft.com/office/drawing/2014/main" id="{CD97A294-8F1D-B64E-A65F-68F88200E97B}"/>
              </a:ext>
            </a:extLst>
          </p:cNvPr>
          <p:cNvSpPr/>
          <p:nvPr/>
        </p:nvSpPr>
        <p:spPr>
          <a:xfrm>
            <a:off x="1824392" y="3947728"/>
            <a:ext cx="867376" cy="3526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CS cluster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FEED studies</a:t>
            </a:r>
          </a:p>
        </p:txBody>
      </p:sp>
      <p:sp>
        <p:nvSpPr>
          <p:cNvPr id="126" name="CCUS support ">
            <a:extLst>
              <a:ext uri="{FF2B5EF4-FFF2-40B4-BE49-F238E27FC236}">
                <a16:creationId xmlns:a16="http://schemas.microsoft.com/office/drawing/2014/main" id="{CAE3A3AF-96D6-7B44-9CAA-9969E178FC68}"/>
              </a:ext>
            </a:extLst>
          </p:cNvPr>
          <p:cNvSpPr/>
          <p:nvPr/>
        </p:nvSpPr>
        <p:spPr>
          <a:xfrm>
            <a:off x="3022882" y="5061763"/>
            <a:ext cx="1424851" cy="217239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CUS support mechanism</a:t>
            </a:r>
          </a:p>
        </p:txBody>
      </p:sp>
      <p:sp>
        <p:nvSpPr>
          <p:cNvPr id="128" name="GHG labelling&#10;">
            <a:extLst>
              <a:ext uri="{FF2B5EF4-FFF2-40B4-BE49-F238E27FC236}">
                <a16:creationId xmlns:a16="http://schemas.microsoft.com/office/drawing/2014/main" id="{73DA25FC-2E8D-374D-8881-A78B5C37C140}"/>
              </a:ext>
            </a:extLst>
          </p:cNvPr>
          <p:cNvSpPr/>
          <p:nvPr/>
        </p:nvSpPr>
        <p:spPr>
          <a:xfrm>
            <a:off x="1872521" y="5898628"/>
            <a:ext cx="837811" cy="217239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HG labelling</a:t>
            </a:r>
          </a:p>
        </p:txBody>
      </p:sp>
      <p:sp>
        <p:nvSpPr>
          <p:cNvPr id="129" name="Amend gas regulations&#10;">
            <a:extLst>
              <a:ext uri="{FF2B5EF4-FFF2-40B4-BE49-F238E27FC236}">
                <a16:creationId xmlns:a16="http://schemas.microsoft.com/office/drawing/2014/main" id="{8FEE46F1-B045-1B4B-903F-DE67C8BCECA1}"/>
              </a:ext>
            </a:extLst>
          </p:cNvPr>
          <p:cNvSpPr/>
          <p:nvPr/>
        </p:nvSpPr>
        <p:spPr>
          <a:xfrm>
            <a:off x="3022881" y="5898628"/>
            <a:ext cx="1424850" cy="217239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mend gas regulations</a:t>
            </a:r>
          </a:p>
        </p:txBody>
      </p:sp>
      <p:sp>
        <p:nvSpPr>
          <p:cNvPr id="130" name="Large-scale H2 test facility&#10;">
            <a:extLst>
              <a:ext uri="{FF2B5EF4-FFF2-40B4-BE49-F238E27FC236}">
                <a16:creationId xmlns:a16="http://schemas.microsoft.com/office/drawing/2014/main" id="{54F6402E-BE53-D945-A7DB-4AF62C23407E}"/>
              </a:ext>
            </a:extLst>
          </p:cNvPr>
          <p:cNvSpPr/>
          <p:nvPr/>
        </p:nvSpPr>
        <p:spPr>
          <a:xfrm>
            <a:off x="5762004" y="5898628"/>
            <a:ext cx="1440573" cy="217239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Large-scale H2 test facility</a:t>
            </a:r>
          </a:p>
        </p:txBody>
      </p:sp>
      <p:sp>
        <p:nvSpPr>
          <p:cNvPr id="131" name="Up to 20% H2 ">
            <a:extLst>
              <a:ext uri="{FF2B5EF4-FFF2-40B4-BE49-F238E27FC236}">
                <a16:creationId xmlns:a16="http://schemas.microsoft.com/office/drawing/2014/main" id="{50AAC273-2C20-6646-A47C-DF43C93C04BC}"/>
              </a:ext>
            </a:extLst>
          </p:cNvPr>
          <p:cNvSpPr/>
          <p:nvPr/>
        </p:nvSpPr>
        <p:spPr>
          <a:xfrm>
            <a:off x="3250003" y="3947728"/>
            <a:ext cx="1014050" cy="3526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Up to 20%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n gas network</a:t>
            </a:r>
          </a:p>
        </p:txBody>
      </p:sp>
      <p:sp>
        <p:nvSpPr>
          <p:cNvPr id="132" name="1st CCS cluster ">
            <a:extLst>
              <a:ext uri="{FF2B5EF4-FFF2-40B4-BE49-F238E27FC236}">
                <a16:creationId xmlns:a16="http://schemas.microsoft.com/office/drawing/2014/main" id="{30F2EBB5-7058-C54C-8E45-6B108AD9FC73}"/>
              </a:ext>
            </a:extLst>
          </p:cNvPr>
          <p:cNvSpPr/>
          <p:nvPr/>
        </p:nvSpPr>
        <p:spPr>
          <a:xfrm>
            <a:off x="4276568" y="3946472"/>
            <a:ext cx="1045207" cy="623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1st CCS cluster &amp;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power station investment decisions</a:t>
            </a:r>
          </a:p>
        </p:txBody>
      </p:sp>
      <p:sp>
        <p:nvSpPr>
          <p:cNvPr id="133" name="End dates for coal generation">
            <a:extLst>
              <a:ext uri="{FF2B5EF4-FFF2-40B4-BE49-F238E27FC236}">
                <a16:creationId xmlns:a16="http://schemas.microsoft.com/office/drawing/2014/main" id="{BCB02934-FC59-934E-9C67-8A8CAE675ABC}"/>
              </a:ext>
            </a:extLst>
          </p:cNvPr>
          <p:cNvSpPr/>
          <p:nvPr/>
        </p:nvSpPr>
        <p:spPr>
          <a:xfrm>
            <a:off x="9951598" y="5627785"/>
            <a:ext cx="1762565" cy="48808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+mn-cs"/>
              </a:rPr>
              <a:t>End dates for coal generation, petrol &amp; diesel cars, natural gas boilers</a:t>
            </a:r>
          </a:p>
        </p:txBody>
      </p:sp>
      <p:sp>
        <p:nvSpPr>
          <p:cNvPr id="134" name="1st 100% ">
            <a:extLst>
              <a:ext uri="{FF2B5EF4-FFF2-40B4-BE49-F238E27FC236}">
                <a16:creationId xmlns:a16="http://schemas.microsoft.com/office/drawing/2014/main" id="{2641AE3F-C2E8-3A44-ACBA-D21B386C756F}"/>
              </a:ext>
            </a:extLst>
          </p:cNvPr>
          <p:cNvSpPr/>
          <p:nvPr/>
        </p:nvSpPr>
        <p:spPr>
          <a:xfrm>
            <a:off x="5288617" y="3947527"/>
            <a:ext cx="776800" cy="3526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1st 100%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in homes</a:t>
            </a:r>
          </a:p>
        </p:txBody>
      </p:sp>
      <p:sp>
        <p:nvSpPr>
          <p:cNvPr id="135" name="1st cluster carbon ">
            <a:extLst>
              <a:ext uri="{FF2B5EF4-FFF2-40B4-BE49-F238E27FC236}">
                <a16:creationId xmlns:a16="http://schemas.microsoft.com/office/drawing/2014/main" id="{4A5D4038-62B3-354E-9B9D-97209A39A2F6}"/>
              </a:ext>
            </a:extLst>
          </p:cNvPr>
          <p:cNvSpPr/>
          <p:nvPr/>
        </p:nvSpPr>
        <p:spPr>
          <a:xfrm>
            <a:off x="6743390" y="3947728"/>
            <a:ext cx="1083982" cy="488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1st cluster carbon store opens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(100MW scale)</a:t>
            </a:r>
          </a:p>
        </p:txBody>
      </p:sp>
      <p:sp>
        <p:nvSpPr>
          <p:cNvPr id="136" name="1st 100% H2  power ">
            <a:extLst>
              <a:ext uri="{FF2B5EF4-FFF2-40B4-BE49-F238E27FC236}">
                <a16:creationId xmlns:a16="http://schemas.microsoft.com/office/drawing/2014/main" id="{E126945F-11A6-D846-A61C-312FA9F6C7F3}"/>
              </a:ext>
            </a:extLst>
          </p:cNvPr>
          <p:cNvSpPr/>
          <p:nvPr/>
        </p:nvSpPr>
        <p:spPr>
          <a:xfrm>
            <a:off x="7691784" y="3947728"/>
            <a:ext cx="719944" cy="488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1st 100%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 power station</a:t>
            </a:r>
          </a:p>
        </p:txBody>
      </p:sp>
      <p:sp>
        <p:nvSpPr>
          <p:cNvPr id="139" name="Target date for net zero ">
            <a:extLst>
              <a:ext uri="{FF2B5EF4-FFF2-40B4-BE49-F238E27FC236}">
                <a16:creationId xmlns:a16="http://schemas.microsoft.com/office/drawing/2014/main" id="{098C81F4-A090-0541-9340-09B0FB7DF0AD}"/>
              </a:ext>
            </a:extLst>
          </p:cNvPr>
          <p:cNvSpPr/>
          <p:nvPr/>
        </p:nvSpPr>
        <p:spPr>
          <a:xfrm>
            <a:off x="7449549" y="5898628"/>
            <a:ext cx="2068498" cy="217239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D217A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arget date for net zero electricity system</a:t>
            </a:r>
          </a:p>
        </p:txBody>
      </p:sp>
      <p:sp>
        <p:nvSpPr>
          <p:cNvPr id="137" name="2nd cluster carbon ">
            <a:extLst>
              <a:ext uri="{FF2B5EF4-FFF2-40B4-BE49-F238E27FC236}">
                <a16:creationId xmlns:a16="http://schemas.microsoft.com/office/drawing/2014/main" id="{746E9384-203E-9949-8E4F-539FF40A7E8B}"/>
              </a:ext>
            </a:extLst>
          </p:cNvPr>
          <p:cNvSpPr/>
          <p:nvPr/>
        </p:nvSpPr>
        <p:spPr>
          <a:xfrm>
            <a:off x="8868866" y="3947728"/>
            <a:ext cx="776799" cy="488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nd cluster carbon store open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34E5B02B-3E59-A74E-AC45-C83B96CF2C33}"/>
              </a:ext>
            </a:extLst>
          </p:cNvPr>
          <p:cNvSpPr/>
          <p:nvPr/>
        </p:nvSpPr>
        <p:spPr>
          <a:xfrm>
            <a:off x="9205261" y="4493143"/>
            <a:ext cx="1763207" cy="2172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W scale reformer+ CCS projects</a:t>
            </a:r>
          </a:p>
        </p:txBody>
      </p:sp>
      <p:grpSp>
        <p:nvGrpSpPr>
          <p:cNvPr id="146" name="Turbines group 2">
            <a:extLst>
              <a:ext uri="{FF2B5EF4-FFF2-40B4-BE49-F238E27FC236}">
                <a16:creationId xmlns:a16="http://schemas.microsoft.com/office/drawing/2014/main" id="{4C0CD3FA-0BA3-6D45-B594-F66EB96C03B6}"/>
              </a:ext>
            </a:extLst>
          </p:cNvPr>
          <p:cNvGrpSpPr/>
          <p:nvPr/>
        </p:nvGrpSpPr>
        <p:grpSpPr>
          <a:xfrm>
            <a:off x="9837563" y="2709992"/>
            <a:ext cx="449566" cy="820846"/>
            <a:chOff x="9714098" y="2521412"/>
            <a:chExt cx="533561" cy="974210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5B128CB4-71D4-5444-8A8D-C68D6562AA4E}"/>
                </a:ext>
              </a:extLst>
            </p:cNvPr>
            <p:cNvGrpSpPr/>
            <p:nvPr/>
          </p:nvGrpSpPr>
          <p:grpSpPr>
            <a:xfrm>
              <a:off x="9772298" y="2521412"/>
              <a:ext cx="475361" cy="969077"/>
              <a:chOff x="8279389" y="2753002"/>
              <a:chExt cx="292100" cy="595479"/>
            </a:xfrm>
          </p:grpSpPr>
          <p:sp>
            <p:nvSpPr>
              <p:cNvPr id="86" name="Freeform: Shape 114">
                <a:extLst>
                  <a:ext uri="{FF2B5EF4-FFF2-40B4-BE49-F238E27FC236}">
                    <a16:creationId xmlns:a16="http://schemas.microsoft.com/office/drawing/2014/main" id="{39BB8EF9-EDFD-9548-8A6E-E71B6971FF9C}"/>
                  </a:ext>
                </a:extLst>
              </p:cNvPr>
              <p:cNvSpPr/>
              <p:nvPr/>
            </p:nvSpPr>
            <p:spPr bwMode="auto">
              <a:xfrm flipH="1">
                <a:off x="8350696" y="3246449"/>
                <a:ext cx="66484" cy="102032"/>
              </a:xfrm>
              <a:custGeom>
                <a:avLst/>
                <a:gdLst>
                  <a:gd name="connsiteX0" fmla="*/ 0 w 158115"/>
                  <a:gd name="connsiteY0" fmla="*/ 0 h 240030"/>
                  <a:gd name="connsiteX1" fmla="*/ 158115 w 158115"/>
                  <a:gd name="connsiteY1" fmla="*/ 0 h 240030"/>
                  <a:gd name="connsiteX2" fmla="*/ 156210 w 158115"/>
                  <a:gd name="connsiteY2" fmla="*/ 47625 h 240030"/>
                  <a:gd name="connsiteX3" fmla="*/ 131445 w 158115"/>
                  <a:gd name="connsiteY3" fmla="*/ 66675 h 240030"/>
                  <a:gd name="connsiteX4" fmla="*/ 131445 w 158115"/>
                  <a:gd name="connsiteY4" fmla="*/ 240030 h 240030"/>
                  <a:gd name="connsiteX5" fmla="*/ 30480 w 158115"/>
                  <a:gd name="connsiteY5" fmla="*/ 240030 h 240030"/>
                  <a:gd name="connsiteX6" fmla="*/ 32385 w 158115"/>
                  <a:gd name="connsiteY6" fmla="*/ 68580 h 240030"/>
                  <a:gd name="connsiteX7" fmla="*/ 7620 w 158115"/>
                  <a:gd name="connsiteY7" fmla="*/ 51435 h 240030"/>
                  <a:gd name="connsiteX8" fmla="*/ 0 w 158115"/>
                  <a:gd name="connsiteY8" fmla="*/ 0 h 240030"/>
                  <a:gd name="connsiteX0" fmla="*/ 0 w 161925"/>
                  <a:gd name="connsiteY0" fmla="*/ 0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0 h 240030"/>
                  <a:gd name="connsiteX0" fmla="*/ 0 w 167640"/>
                  <a:gd name="connsiteY0" fmla="*/ 1905 h 240030"/>
                  <a:gd name="connsiteX1" fmla="*/ 167640 w 167640"/>
                  <a:gd name="connsiteY1" fmla="*/ 0 h 240030"/>
                  <a:gd name="connsiteX2" fmla="*/ 161925 w 167640"/>
                  <a:gd name="connsiteY2" fmla="*/ 47625 h 240030"/>
                  <a:gd name="connsiteX3" fmla="*/ 137160 w 167640"/>
                  <a:gd name="connsiteY3" fmla="*/ 66675 h 240030"/>
                  <a:gd name="connsiteX4" fmla="*/ 137160 w 167640"/>
                  <a:gd name="connsiteY4" fmla="*/ 240030 h 240030"/>
                  <a:gd name="connsiteX5" fmla="*/ 36195 w 167640"/>
                  <a:gd name="connsiteY5" fmla="*/ 240030 h 240030"/>
                  <a:gd name="connsiteX6" fmla="*/ 38100 w 167640"/>
                  <a:gd name="connsiteY6" fmla="*/ 68580 h 240030"/>
                  <a:gd name="connsiteX7" fmla="*/ 13335 w 167640"/>
                  <a:gd name="connsiteY7" fmla="*/ 51435 h 240030"/>
                  <a:gd name="connsiteX8" fmla="*/ 0 w 167640"/>
                  <a:gd name="connsiteY8" fmla="*/ 1905 h 240030"/>
                  <a:gd name="connsiteX0" fmla="*/ 0 w 161925"/>
                  <a:gd name="connsiteY0" fmla="*/ 1905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1905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925" h="240030">
                    <a:moveTo>
                      <a:pt x="0" y="1905"/>
                    </a:moveTo>
                    <a:lnTo>
                      <a:pt x="161925" y="0"/>
                    </a:lnTo>
                    <a:lnTo>
                      <a:pt x="156210" y="47625"/>
                    </a:lnTo>
                    <a:lnTo>
                      <a:pt x="131445" y="66675"/>
                    </a:lnTo>
                    <a:lnTo>
                      <a:pt x="131445" y="240030"/>
                    </a:lnTo>
                    <a:lnTo>
                      <a:pt x="30480" y="240030"/>
                    </a:lnTo>
                    <a:lnTo>
                      <a:pt x="32385" y="68580"/>
                    </a:lnTo>
                    <a:lnTo>
                      <a:pt x="7620" y="51435"/>
                    </a:lnTo>
                    <a:lnTo>
                      <a:pt x="0" y="190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GB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 112">
                <a:extLst>
                  <a:ext uri="{FF2B5EF4-FFF2-40B4-BE49-F238E27FC236}">
                    <a16:creationId xmlns:a16="http://schemas.microsoft.com/office/drawing/2014/main" id="{14FBED32-02E0-E34B-9779-D6767FD22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389" y="2753002"/>
                <a:ext cx="292100" cy="411162"/>
              </a:xfrm>
              <a:custGeom>
                <a:avLst/>
                <a:gdLst>
                  <a:gd name="T0" fmla="*/ 1021 w 2297"/>
                  <a:gd name="T1" fmla="*/ 1425 h 3213"/>
                  <a:gd name="T2" fmla="*/ 1051 w 2297"/>
                  <a:gd name="T3" fmla="*/ 1373 h 3213"/>
                  <a:gd name="T4" fmla="*/ 2297 w 2297"/>
                  <a:gd name="T5" fmla="*/ 1310 h 3213"/>
                  <a:gd name="T6" fmla="*/ 2297 w 2297"/>
                  <a:gd name="T7" fmla="*/ 1197 h 3213"/>
                  <a:gd name="T8" fmla="*/ 1532 w 2297"/>
                  <a:gd name="T9" fmla="*/ 993 h 3213"/>
                  <a:gd name="T10" fmla="*/ 1048 w 2297"/>
                  <a:gd name="T11" fmla="*/ 1165 h 3213"/>
                  <a:gd name="T12" fmla="*/ 971 w 2297"/>
                  <a:gd name="T13" fmla="*/ 1067 h 3213"/>
                  <a:gd name="T14" fmla="*/ 785 w 2297"/>
                  <a:gd name="T15" fmla="*/ 1018 h 3213"/>
                  <a:gd name="T16" fmla="*/ 94 w 2297"/>
                  <a:gd name="T17" fmla="*/ 0 h 3213"/>
                  <a:gd name="T18" fmla="*/ 0 w 2297"/>
                  <a:gd name="T19" fmla="*/ 64 h 3213"/>
                  <a:gd name="T20" fmla="*/ 223 w 2297"/>
                  <a:gd name="T21" fmla="*/ 823 h 3213"/>
                  <a:gd name="T22" fmla="*/ 603 w 2297"/>
                  <a:gd name="T23" fmla="*/ 1134 h 3213"/>
                  <a:gd name="T24" fmla="*/ 617 w 2297"/>
                  <a:gd name="T25" fmla="*/ 1428 h 3213"/>
                  <a:gd name="T26" fmla="*/ 49 w 2297"/>
                  <a:gd name="T27" fmla="*/ 2541 h 3213"/>
                  <a:gd name="T28" fmla="*/ 149 w 2297"/>
                  <a:gd name="T29" fmla="*/ 2592 h 3213"/>
                  <a:gd name="T30" fmla="*/ 723 w 2297"/>
                  <a:gd name="T31" fmla="*/ 1956 h 3213"/>
                  <a:gd name="T32" fmla="*/ 723 w 2297"/>
                  <a:gd name="T33" fmla="*/ 3213 h 3213"/>
                  <a:gd name="T34" fmla="*/ 912 w 2297"/>
                  <a:gd name="T35" fmla="*/ 3213 h 3213"/>
                  <a:gd name="T36" fmla="*/ 912 w 2297"/>
                  <a:gd name="T37" fmla="*/ 1502 h 3213"/>
                  <a:gd name="T38" fmla="*/ 1021 w 2297"/>
                  <a:gd name="T39" fmla="*/ 1425 h 3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97" h="3213">
                    <a:moveTo>
                      <a:pt x="1021" y="1425"/>
                    </a:moveTo>
                    <a:cubicBezTo>
                      <a:pt x="1034" y="1409"/>
                      <a:pt x="1043" y="1391"/>
                      <a:pt x="1051" y="1373"/>
                    </a:cubicBezTo>
                    <a:lnTo>
                      <a:pt x="2297" y="1310"/>
                    </a:lnTo>
                    <a:lnTo>
                      <a:pt x="2297" y="1197"/>
                    </a:lnTo>
                    <a:lnTo>
                      <a:pt x="1532" y="993"/>
                    </a:lnTo>
                    <a:lnTo>
                      <a:pt x="1048" y="1165"/>
                    </a:lnTo>
                    <a:cubicBezTo>
                      <a:pt x="1031" y="1127"/>
                      <a:pt x="1006" y="1094"/>
                      <a:pt x="971" y="1067"/>
                    </a:cubicBezTo>
                    <a:cubicBezTo>
                      <a:pt x="915" y="1026"/>
                      <a:pt x="848" y="1010"/>
                      <a:pt x="785" y="1018"/>
                    </a:cubicBezTo>
                    <a:lnTo>
                      <a:pt x="94" y="0"/>
                    </a:lnTo>
                    <a:lnTo>
                      <a:pt x="0" y="64"/>
                    </a:lnTo>
                    <a:lnTo>
                      <a:pt x="223" y="823"/>
                    </a:lnTo>
                    <a:lnTo>
                      <a:pt x="603" y="1134"/>
                    </a:lnTo>
                    <a:cubicBezTo>
                      <a:pt x="544" y="1226"/>
                      <a:pt x="551" y="1344"/>
                      <a:pt x="617" y="1428"/>
                    </a:cubicBezTo>
                    <a:lnTo>
                      <a:pt x="49" y="2541"/>
                    </a:lnTo>
                    <a:lnTo>
                      <a:pt x="149" y="2592"/>
                    </a:lnTo>
                    <a:lnTo>
                      <a:pt x="723" y="1956"/>
                    </a:lnTo>
                    <a:lnTo>
                      <a:pt x="723" y="3213"/>
                    </a:lnTo>
                    <a:lnTo>
                      <a:pt x="912" y="3213"/>
                    </a:lnTo>
                    <a:lnTo>
                      <a:pt x="912" y="1502"/>
                    </a:lnTo>
                    <a:cubicBezTo>
                      <a:pt x="969" y="1485"/>
                      <a:pt x="1005" y="1446"/>
                      <a:pt x="1021" y="142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FF8FE957-16C0-CF46-9ECB-13F0BF26FDE2}"/>
                  </a:ext>
                </a:extLst>
              </p:cNvPr>
              <p:cNvSpPr/>
              <p:nvPr/>
            </p:nvSpPr>
            <p:spPr>
              <a:xfrm>
                <a:off x="8365305" y="2937141"/>
                <a:ext cx="36000" cy="323388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359BFE33-F56C-EB48-9DE8-B26CC7B11383}"/>
                </a:ext>
              </a:extLst>
            </p:cNvPr>
            <p:cNvGrpSpPr/>
            <p:nvPr/>
          </p:nvGrpSpPr>
          <p:grpSpPr>
            <a:xfrm>
              <a:off x="9714098" y="3131563"/>
              <a:ext cx="174890" cy="356534"/>
              <a:chOff x="8279389" y="2753002"/>
              <a:chExt cx="292100" cy="595479"/>
            </a:xfrm>
          </p:grpSpPr>
          <p:sp>
            <p:nvSpPr>
              <p:cNvPr id="90" name="Freeform: Shape 114">
                <a:extLst>
                  <a:ext uri="{FF2B5EF4-FFF2-40B4-BE49-F238E27FC236}">
                    <a16:creationId xmlns:a16="http://schemas.microsoft.com/office/drawing/2014/main" id="{526833F8-4C49-6B43-BBE0-6BFBC55DD979}"/>
                  </a:ext>
                </a:extLst>
              </p:cNvPr>
              <p:cNvSpPr/>
              <p:nvPr/>
            </p:nvSpPr>
            <p:spPr bwMode="auto">
              <a:xfrm flipH="1">
                <a:off x="8350696" y="3246449"/>
                <a:ext cx="66484" cy="102032"/>
              </a:xfrm>
              <a:custGeom>
                <a:avLst/>
                <a:gdLst>
                  <a:gd name="connsiteX0" fmla="*/ 0 w 158115"/>
                  <a:gd name="connsiteY0" fmla="*/ 0 h 240030"/>
                  <a:gd name="connsiteX1" fmla="*/ 158115 w 158115"/>
                  <a:gd name="connsiteY1" fmla="*/ 0 h 240030"/>
                  <a:gd name="connsiteX2" fmla="*/ 156210 w 158115"/>
                  <a:gd name="connsiteY2" fmla="*/ 47625 h 240030"/>
                  <a:gd name="connsiteX3" fmla="*/ 131445 w 158115"/>
                  <a:gd name="connsiteY3" fmla="*/ 66675 h 240030"/>
                  <a:gd name="connsiteX4" fmla="*/ 131445 w 158115"/>
                  <a:gd name="connsiteY4" fmla="*/ 240030 h 240030"/>
                  <a:gd name="connsiteX5" fmla="*/ 30480 w 158115"/>
                  <a:gd name="connsiteY5" fmla="*/ 240030 h 240030"/>
                  <a:gd name="connsiteX6" fmla="*/ 32385 w 158115"/>
                  <a:gd name="connsiteY6" fmla="*/ 68580 h 240030"/>
                  <a:gd name="connsiteX7" fmla="*/ 7620 w 158115"/>
                  <a:gd name="connsiteY7" fmla="*/ 51435 h 240030"/>
                  <a:gd name="connsiteX8" fmla="*/ 0 w 158115"/>
                  <a:gd name="connsiteY8" fmla="*/ 0 h 240030"/>
                  <a:gd name="connsiteX0" fmla="*/ 0 w 161925"/>
                  <a:gd name="connsiteY0" fmla="*/ 0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0 h 240030"/>
                  <a:gd name="connsiteX0" fmla="*/ 0 w 167640"/>
                  <a:gd name="connsiteY0" fmla="*/ 1905 h 240030"/>
                  <a:gd name="connsiteX1" fmla="*/ 167640 w 167640"/>
                  <a:gd name="connsiteY1" fmla="*/ 0 h 240030"/>
                  <a:gd name="connsiteX2" fmla="*/ 161925 w 167640"/>
                  <a:gd name="connsiteY2" fmla="*/ 47625 h 240030"/>
                  <a:gd name="connsiteX3" fmla="*/ 137160 w 167640"/>
                  <a:gd name="connsiteY3" fmla="*/ 66675 h 240030"/>
                  <a:gd name="connsiteX4" fmla="*/ 137160 w 167640"/>
                  <a:gd name="connsiteY4" fmla="*/ 240030 h 240030"/>
                  <a:gd name="connsiteX5" fmla="*/ 36195 w 167640"/>
                  <a:gd name="connsiteY5" fmla="*/ 240030 h 240030"/>
                  <a:gd name="connsiteX6" fmla="*/ 38100 w 167640"/>
                  <a:gd name="connsiteY6" fmla="*/ 68580 h 240030"/>
                  <a:gd name="connsiteX7" fmla="*/ 13335 w 167640"/>
                  <a:gd name="connsiteY7" fmla="*/ 51435 h 240030"/>
                  <a:gd name="connsiteX8" fmla="*/ 0 w 167640"/>
                  <a:gd name="connsiteY8" fmla="*/ 1905 h 240030"/>
                  <a:gd name="connsiteX0" fmla="*/ 0 w 161925"/>
                  <a:gd name="connsiteY0" fmla="*/ 1905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1905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925" h="240030">
                    <a:moveTo>
                      <a:pt x="0" y="1905"/>
                    </a:moveTo>
                    <a:lnTo>
                      <a:pt x="161925" y="0"/>
                    </a:lnTo>
                    <a:lnTo>
                      <a:pt x="156210" y="47625"/>
                    </a:lnTo>
                    <a:lnTo>
                      <a:pt x="131445" y="66675"/>
                    </a:lnTo>
                    <a:lnTo>
                      <a:pt x="131445" y="240030"/>
                    </a:lnTo>
                    <a:lnTo>
                      <a:pt x="30480" y="240030"/>
                    </a:lnTo>
                    <a:lnTo>
                      <a:pt x="32385" y="68580"/>
                    </a:lnTo>
                    <a:lnTo>
                      <a:pt x="7620" y="51435"/>
                    </a:lnTo>
                    <a:lnTo>
                      <a:pt x="0" y="190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GB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Freeform 112">
                <a:extLst>
                  <a:ext uri="{FF2B5EF4-FFF2-40B4-BE49-F238E27FC236}">
                    <a16:creationId xmlns:a16="http://schemas.microsoft.com/office/drawing/2014/main" id="{37897D46-B6C4-8A4C-B2D4-5ACCE01D8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389" y="2753002"/>
                <a:ext cx="292100" cy="411162"/>
              </a:xfrm>
              <a:custGeom>
                <a:avLst/>
                <a:gdLst>
                  <a:gd name="T0" fmla="*/ 1021 w 2297"/>
                  <a:gd name="T1" fmla="*/ 1425 h 3213"/>
                  <a:gd name="T2" fmla="*/ 1051 w 2297"/>
                  <a:gd name="T3" fmla="*/ 1373 h 3213"/>
                  <a:gd name="T4" fmla="*/ 2297 w 2297"/>
                  <a:gd name="T5" fmla="*/ 1310 h 3213"/>
                  <a:gd name="T6" fmla="*/ 2297 w 2297"/>
                  <a:gd name="T7" fmla="*/ 1197 h 3213"/>
                  <a:gd name="T8" fmla="*/ 1532 w 2297"/>
                  <a:gd name="T9" fmla="*/ 993 h 3213"/>
                  <a:gd name="T10" fmla="*/ 1048 w 2297"/>
                  <a:gd name="T11" fmla="*/ 1165 h 3213"/>
                  <a:gd name="T12" fmla="*/ 971 w 2297"/>
                  <a:gd name="T13" fmla="*/ 1067 h 3213"/>
                  <a:gd name="T14" fmla="*/ 785 w 2297"/>
                  <a:gd name="T15" fmla="*/ 1018 h 3213"/>
                  <a:gd name="T16" fmla="*/ 94 w 2297"/>
                  <a:gd name="T17" fmla="*/ 0 h 3213"/>
                  <a:gd name="T18" fmla="*/ 0 w 2297"/>
                  <a:gd name="T19" fmla="*/ 64 h 3213"/>
                  <a:gd name="T20" fmla="*/ 223 w 2297"/>
                  <a:gd name="T21" fmla="*/ 823 h 3213"/>
                  <a:gd name="T22" fmla="*/ 603 w 2297"/>
                  <a:gd name="T23" fmla="*/ 1134 h 3213"/>
                  <a:gd name="T24" fmla="*/ 617 w 2297"/>
                  <a:gd name="T25" fmla="*/ 1428 h 3213"/>
                  <a:gd name="T26" fmla="*/ 49 w 2297"/>
                  <a:gd name="T27" fmla="*/ 2541 h 3213"/>
                  <a:gd name="T28" fmla="*/ 149 w 2297"/>
                  <a:gd name="T29" fmla="*/ 2592 h 3213"/>
                  <a:gd name="T30" fmla="*/ 723 w 2297"/>
                  <a:gd name="T31" fmla="*/ 1956 h 3213"/>
                  <a:gd name="T32" fmla="*/ 723 w 2297"/>
                  <a:gd name="T33" fmla="*/ 3213 h 3213"/>
                  <a:gd name="T34" fmla="*/ 912 w 2297"/>
                  <a:gd name="T35" fmla="*/ 3213 h 3213"/>
                  <a:gd name="T36" fmla="*/ 912 w 2297"/>
                  <a:gd name="T37" fmla="*/ 1502 h 3213"/>
                  <a:gd name="T38" fmla="*/ 1021 w 2297"/>
                  <a:gd name="T39" fmla="*/ 1425 h 3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97" h="3213">
                    <a:moveTo>
                      <a:pt x="1021" y="1425"/>
                    </a:moveTo>
                    <a:cubicBezTo>
                      <a:pt x="1034" y="1409"/>
                      <a:pt x="1043" y="1391"/>
                      <a:pt x="1051" y="1373"/>
                    </a:cubicBezTo>
                    <a:lnTo>
                      <a:pt x="2297" y="1310"/>
                    </a:lnTo>
                    <a:lnTo>
                      <a:pt x="2297" y="1197"/>
                    </a:lnTo>
                    <a:lnTo>
                      <a:pt x="1532" y="993"/>
                    </a:lnTo>
                    <a:lnTo>
                      <a:pt x="1048" y="1165"/>
                    </a:lnTo>
                    <a:cubicBezTo>
                      <a:pt x="1031" y="1127"/>
                      <a:pt x="1006" y="1094"/>
                      <a:pt x="971" y="1067"/>
                    </a:cubicBezTo>
                    <a:cubicBezTo>
                      <a:pt x="915" y="1026"/>
                      <a:pt x="848" y="1010"/>
                      <a:pt x="785" y="1018"/>
                    </a:cubicBezTo>
                    <a:lnTo>
                      <a:pt x="94" y="0"/>
                    </a:lnTo>
                    <a:lnTo>
                      <a:pt x="0" y="64"/>
                    </a:lnTo>
                    <a:lnTo>
                      <a:pt x="223" y="823"/>
                    </a:lnTo>
                    <a:lnTo>
                      <a:pt x="603" y="1134"/>
                    </a:lnTo>
                    <a:cubicBezTo>
                      <a:pt x="544" y="1226"/>
                      <a:pt x="551" y="1344"/>
                      <a:pt x="617" y="1428"/>
                    </a:cubicBezTo>
                    <a:lnTo>
                      <a:pt x="49" y="2541"/>
                    </a:lnTo>
                    <a:lnTo>
                      <a:pt x="149" y="2592"/>
                    </a:lnTo>
                    <a:lnTo>
                      <a:pt x="723" y="1956"/>
                    </a:lnTo>
                    <a:lnTo>
                      <a:pt x="723" y="3213"/>
                    </a:lnTo>
                    <a:lnTo>
                      <a:pt x="912" y="3213"/>
                    </a:lnTo>
                    <a:lnTo>
                      <a:pt x="912" y="1502"/>
                    </a:lnTo>
                    <a:cubicBezTo>
                      <a:pt x="969" y="1485"/>
                      <a:pt x="1005" y="1446"/>
                      <a:pt x="1021" y="142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70D59785-66A3-FA48-AD16-1D1B190C8E12}"/>
                  </a:ext>
                </a:extLst>
              </p:cNvPr>
              <p:cNvSpPr/>
              <p:nvPr/>
            </p:nvSpPr>
            <p:spPr>
              <a:xfrm>
                <a:off x="8365305" y="2937141"/>
                <a:ext cx="36000" cy="323388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EFC74808-7B42-824E-8DCD-102FDF773BE1}"/>
                </a:ext>
              </a:extLst>
            </p:cNvPr>
            <p:cNvGrpSpPr/>
            <p:nvPr/>
          </p:nvGrpSpPr>
          <p:grpSpPr>
            <a:xfrm>
              <a:off x="10041476" y="3139088"/>
              <a:ext cx="174890" cy="356534"/>
              <a:chOff x="8279389" y="2753002"/>
              <a:chExt cx="292100" cy="595479"/>
            </a:xfrm>
          </p:grpSpPr>
          <p:sp>
            <p:nvSpPr>
              <p:cNvPr id="143" name="Freeform: Shape 114">
                <a:extLst>
                  <a:ext uri="{FF2B5EF4-FFF2-40B4-BE49-F238E27FC236}">
                    <a16:creationId xmlns:a16="http://schemas.microsoft.com/office/drawing/2014/main" id="{0D3C1204-8293-6540-A8FA-35AEB727B3D8}"/>
                  </a:ext>
                </a:extLst>
              </p:cNvPr>
              <p:cNvSpPr/>
              <p:nvPr/>
            </p:nvSpPr>
            <p:spPr bwMode="auto">
              <a:xfrm flipH="1">
                <a:off x="8350696" y="3246449"/>
                <a:ext cx="66484" cy="102032"/>
              </a:xfrm>
              <a:custGeom>
                <a:avLst/>
                <a:gdLst>
                  <a:gd name="connsiteX0" fmla="*/ 0 w 158115"/>
                  <a:gd name="connsiteY0" fmla="*/ 0 h 240030"/>
                  <a:gd name="connsiteX1" fmla="*/ 158115 w 158115"/>
                  <a:gd name="connsiteY1" fmla="*/ 0 h 240030"/>
                  <a:gd name="connsiteX2" fmla="*/ 156210 w 158115"/>
                  <a:gd name="connsiteY2" fmla="*/ 47625 h 240030"/>
                  <a:gd name="connsiteX3" fmla="*/ 131445 w 158115"/>
                  <a:gd name="connsiteY3" fmla="*/ 66675 h 240030"/>
                  <a:gd name="connsiteX4" fmla="*/ 131445 w 158115"/>
                  <a:gd name="connsiteY4" fmla="*/ 240030 h 240030"/>
                  <a:gd name="connsiteX5" fmla="*/ 30480 w 158115"/>
                  <a:gd name="connsiteY5" fmla="*/ 240030 h 240030"/>
                  <a:gd name="connsiteX6" fmla="*/ 32385 w 158115"/>
                  <a:gd name="connsiteY6" fmla="*/ 68580 h 240030"/>
                  <a:gd name="connsiteX7" fmla="*/ 7620 w 158115"/>
                  <a:gd name="connsiteY7" fmla="*/ 51435 h 240030"/>
                  <a:gd name="connsiteX8" fmla="*/ 0 w 158115"/>
                  <a:gd name="connsiteY8" fmla="*/ 0 h 240030"/>
                  <a:gd name="connsiteX0" fmla="*/ 0 w 161925"/>
                  <a:gd name="connsiteY0" fmla="*/ 0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0 h 240030"/>
                  <a:gd name="connsiteX0" fmla="*/ 0 w 167640"/>
                  <a:gd name="connsiteY0" fmla="*/ 1905 h 240030"/>
                  <a:gd name="connsiteX1" fmla="*/ 167640 w 167640"/>
                  <a:gd name="connsiteY1" fmla="*/ 0 h 240030"/>
                  <a:gd name="connsiteX2" fmla="*/ 161925 w 167640"/>
                  <a:gd name="connsiteY2" fmla="*/ 47625 h 240030"/>
                  <a:gd name="connsiteX3" fmla="*/ 137160 w 167640"/>
                  <a:gd name="connsiteY3" fmla="*/ 66675 h 240030"/>
                  <a:gd name="connsiteX4" fmla="*/ 137160 w 167640"/>
                  <a:gd name="connsiteY4" fmla="*/ 240030 h 240030"/>
                  <a:gd name="connsiteX5" fmla="*/ 36195 w 167640"/>
                  <a:gd name="connsiteY5" fmla="*/ 240030 h 240030"/>
                  <a:gd name="connsiteX6" fmla="*/ 38100 w 167640"/>
                  <a:gd name="connsiteY6" fmla="*/ 68580 h 240030"/>
                  <a:gd name="connsiteX7" fmla="*/ 13335 w 167640"/>
                  <a:gd name="connsiteY7" fmla="*/ 51435 h 240030"/>
                  <a:gd name="connsiteX8" fmla="*/ 0 w 167640"/>
                  <a:gd name="connsiteY8" fmla="*/ 1905 h 240030"/>
                  <a:gd name="connsiteX0" fmla="*/ 0 w 161925"/>
                  <a:gd name="connsiteY0" fmla="*/ 1905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1905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925" h="240030">
                    <a:moveTo>
                      <a:pt x="0" y="1905"/>
                    </a:moveTo>
                    <a:lnTo>
                      <a:pt x="161925" y="0"/>
                    </a:lnTo>
                    <a:lnTo>
                      <a:pt x="156210" y="47625"/>
                    </a:lnTo>
                    <a:lnTo>
                      <a:pt x="131445" y="66675"/>
                    </a:lnTo>
                    <a:lnTo>
                      <a:pt x="131445" y="240030"/>
                    </a:lnTo>
                    <a:lnTo>
                      <a:pt x="30480" y="240030"/>
                    </a:lnTo>
                    <a:lnTo>
                      <a:pt x="32385" y="68580"/>
                    </a:lnTo>
                    <a:lnTo>
                      <a:pt x="7620" y="51435"/>
                    </a:lnTo>
                    <a:lnTo>
                      <a:pt x="0" y="190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GB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Freeform 112">
                <a:extLst>
                  <a:ext uri="{FF2B5EF4-FFF2-40B4-BE49-F238E27FC236}">
                    <a16:creationId xmlns:a16="http://schemas.microsoft.com/office/drawing/2014/main" id="{C8F2BBFE-621A-564F-9947-9C27B3890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389" y="2753002"/>
                <a:ext cx="292100" cy="411162"/>
              </a:xfrm>
              <a:custGeom>
                <a:avLst/>
                <a:gdLst>
                  <a:gd name="T0" fmla="*/ 1021 w 2297"/>
                  <a:gd name="T1" fmla="*/ 1425 h 3213"/>
                  <a:gd name="T2" fmla="*/ 1051 w 2297"/>
                  <a:gd name="T3" fmla="*/ 1373 h 3213"/>
                  <a:gd name="T4" fmla="*/ 2297 w 2297"/>
                  <a:gd name="T5" fmla="*/ 1310 h 3213"/>
                  <a:gd name="T6" fmla="*/ 2297 w 2297"/>
                  <a:gd name="T7" fmla="*/ 1197 h 3213"/>
                  <a:gd name="T8" fmla="*/ 1532 w 2297"/>
                  <a:gd name="T9" fmla="*/ 993 h 3213"/>
                  <a:gd name="T10" fmla="*/ 1048 w 2297"/>
                  <a:gd name="T11" fmla="*/ 1165 h 3213"/>
                  <a:gd name="T12" fmla="*/ 971 w 2297"/>
                  <a:gd name="T13" fmla="*/ 1067 h 3213"/>
                  <a:gd name="T14" fmla="*/ 785 w 2297"/>
                  <a:gd name="T15" fmla="*/ 1018 h 3213"/>
                  <a:gd name="T16" fmla="*/ 94 w 2297"/>
                  <a:gd name="T17" fmla="*/ 0 h 3213"/>
                  <a:gd name="T18" fmla="*/ 0 w 2297"/>
                  <a:gd name="T19" fmla="*/ 64 h 3213"/>
                  <a:gd name="T20" fmla="*/ 223 w 2297"/>
                  <a:gd name="T21" fmla="*/ 823 h 3213"/>
                  <a:gd name="T22" fmla="*/ 603 w 2297"/>
                  <a:gd name="T23" fmla="*/ 1134 h 3213"/>
                  <a:gd name="T24" fmla="*/ 617 w 2297"/>
                  <a:gd name="T25" fmla="*/ 1428 h 3213"/>
                  <a:gd name="T26" fmla="*/ 49 w 2297"/>
                  <a:gd name="T27" fmla="*/ 2541 h 3213"/>
                  <a:gd name="T28" fmla="*/ 149 w 2297"/>
                  <a:gd name="T29" fmla="*/ 2592 h 3213"/>
                  <a:gd name="T30" fmla="*/ 723 w 2297"/>
                  <a:gd name="T31" fmla="*/ 1956 h 3213"/>
                  <a:gd name="T32" fmla="*/ 723 w 2297"/>
                  <a:gd name="T33" fmla="*/ 3213 h 3213"/>
                  <a:gd name="T34" fmla="*/ 912 w 2297"/>
                  <a:gd name="T35" fmla="*/ 3213 h 3213"/>
                  <a:gd name="T36" fmla="*/ 912 w 2297"/>
                  <a:gd name="T37" fmla="*/ 1502 h 3213"/>
                  <a:gd name="T38" fmla="*/ 1021 w 2297"/>
                  <a:gd name="T39" fmla="*/ 1425 h 3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97" h="3213">
                    <a:moveTo>
                      <a:pt x="1021" y="1425"/>
                    </a:moveTo>
                    <a:cubicBezTo>
                      <a:pt x="1034" y="1409"/>
                      <a:pt x="1043" y="1391"/>
                      <a:pt x="1051" y="1373"/>
                    </a:cubicBezTo>
                    <a:lnTo>
                      <a:pt x="2297" y="1310"/>
                    </a:lnTo>
                    <a:lnTo>
                      <a:pt x="2297" y="1197"/>
                    </a:lnTo>
                    <a:lnTo>
                      <a:pt x="1532" y="993"/>
                    </a:lnTo>
                    <a:lnTo>
                      <a:pt x="1048" y="1165"/>
                    </a:lnTo>
                    <a:cubicBezTo>
                      <a:pt x="1031" y="1127"/>
                      <a:pt x="1006" y="1094"/>
                      <a:pt x="971" y="1067"/>
                    </a:cubicBezTo>
                    <a:cubicBezTo>
                      <a:pt x="915" y="1026"/>
                      <a:pt x="848" y="1010"/>
                      <a:pt x="785" y="1018"/>
                    </a:cubicBezTo>
                    <a:lnTo>
                      <a:pt x="94" y="0"/>
                    </a:lnTo>
                    <a:lnTo>
                      <a:pt x="0" y="64"/>
                    </a:lnTo>
                    <a:lnTo>
                      <a:pt x="223" y="823"/>
                    </a:lnTo>
                    <a:lnTo>
                      <a:pt x="603" y="1134"/>
                    </a:lnTo>
                    <a:cubicBezTo>
                      <a:pt x="544" y="1226"/>
                      <a:pt x="551" y="1344"/>
                      <a:pt x="617" y="1428"/>
                    </a:cubicBezTo>
                    <a:lnTo>
                      <a:pt x="49" y="2541"/>
                    </a:lnTo>
                    <a:lnTo>
                      <a:pt x="149" y="2592"/>
                    </a:lnTo>
                    <a:lnTo>
                      <a:pt x="723" y="1956"/>
                    </a:lnTo>
                    <a:lnTo>
                      <a:pt x="723" y="3213"/>
                    </a:lnTo>
                    <a:lnTo>
                      <a:pt x="912" y="3213"/>
                    </a:lnTo>
                    <a:lnTo>
                      <a:pt x="912" y="1502"/>
                    </a:lnTo>
                    <a:cubicBezTo>
                      <a:pt x="969" y="1485"/>
                      <a:pt x="1005" y="1446"/>
                      <a:pt x="1021" y="142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E58AB9E9-A8D9-774E-9388-CC703C5B88E9}"/>
                  </a:ext>
                </a:extLst>
              </p:cNvPr>
              <p:cNvSpPr/>
              <p:nvPr/>
            </p:nvSpPr>
            <p:spPr>
              <a:xfrm>
                <a:off x="8365305" y="2937141"/>
                <a:ext cx="36000" cy="323388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2FC64E5-7A40-3244-A28D-C95936CEB0F1}"/>
              </a:ext>
            </a:extLst>
          </p:cNvPr>
          <p:cNvGrpSpPr/>
          <p:nvPr/>
        </p:nvGrpSpPr>
        <p:grpSpPr>
          <a:xfrm>
            <a:off x="8411728" y="2702254"/>
            <a:ext cx="449566" cy="820846"/>
            <a:chOff x="9714098" y="2521412"/>
            <a:chExt cx="533561" cy="974210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D25C15C2-14A1-A94E-B472-99976F1BD897}"/>
                </a:ext>
              </a:extLst>
            </p:cNvPr>
            <p:cNvGrpSpPr/>
            <p:nvPr/>
          </p:nvGrpSpPr>
          <p:grpSpPr>
            <a:xfrm>
              <a:off x="9772298" y="2521412"/>
              <a:ext cx="475361" cy="969077"/>
              <a:chOff x="8279389" y="2753002"/>
              <a:chExt cx="292100" cy="595479"/>
            </a:xfrm>
          </p:grpSpPr>
          <p:sp>
            <p:nvSpPr>
              <p:cNvPr id="157" name="Freeform: Shape 114">
                <a:extLst>
                  <a:ext uri="{FF2B5EF4-FFF2-40B4-BE49-F238E27FC236}">
                    <a16:creationId xmlns:a16="http://schemas.microsoft.com/office/drawing/2014/main" id="{9C6396E1-5284-674C-9988-020F32AB065D}"/>
                  </a:ext>
                </a:extLst>
              </p:cNvPr>
              <p:cNvSpPr/>
              <p:nvPr/>
            </p:nvSpPr>
            <p:spPr bwMode="auto">
              <a:xfrm flipH="1">
                <a:off x="8350696" y="3246449"/>
                <a:ext cx="66484" cy="102032"/>
              </a:xfrm>
              <a:custGeom>
                <a:avLst/>
                <a:gdLst>
                  <a:gd name="connsiteX0" fmla="*/ 0 w 158115"/>
                  <a:gd name="connsiteY0" fmla="*/ 0 h 240030"/>
                  <a:gd name="connsiteX1" fmla="*/ 158115 w 158115"/>
                  <a:gd name="connsiteY1" fmla="*/ 0 h 240030"/>
                  <a:gd name="connsiteX2" fmla="*/ 156210 w 158115"/>
                  <a:gd name="connsiteY2" fmla="*/ 47625 h 240030"/>
                  <a:gd name="connsiteX3" fmla="*/ 131445 w 158115"/>
                  <a:gd name="connsiteY3" fmla="*/ 66675 h 240030"/>
                  <a:gd name="connsiteX4" fmla="*/ 131445 w 158115"/>
                  <a:gd name="connsiteY4" fmla="*/ 240030 h 240030"/>
                  <a:gd name="connsiteX5" fmla="*/ 30480 w 158115"/>
                  <a:gd name="connsiteY5" fmla="*/ 240030 h 240030"/>
                  <a:gd name="connsiteX6" fmla="*/ 32385 w 158115"/>
                  <a:gd name="connsiteY6" fmla="*/ 68580 h 240030"/>
                  <a:gd name="connsiteX7" fmla="*/ 7620 w 158115"/>
                  <a:gd name="connsiteY7" fmla="*/ 51435 h 240030"/>
                  <a:gd name="connsiteX8" fmla="*/ 0 w 158115"/>
                  <a:gd name="connsiteY8" fmla="*/ 0 h 240030"/>
                  <a:gd name="connsiteX0" fmla="*/ 0 w 161925"/>
                  <a:gd name="connsiteY0" fmla="*/ 0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0 h 240030"/>
                  <a:gd name="connsiteX0" fmla="*/ 0 w 167640"/>
                  <a:gd name="connsiteY0" fmla="*/ 1905 h 240030"/>
                  <a:gd name="connsiteX1" fmla="*/ 167640 w 167640"/>
                  <a:gd name="connsiteY1" fmla="*/ 0 h 240030"/>
                  <a:gd name="connsiteX2" fmla="*/ 161925 w 167640"/>
                  <a:gd name="connsiteY2" fmla="*/ 47625 h 240030"/>
                  <a:gd name="connsiteX3" fmla="*/ 137160 w 167640"/>
                  <a:gd name="connsiteY3" fmla="*/ 66675 h 240030"/>
                  <a:gd name="connsiteX4" fmla="*/ 137160 w 167640"/>
                  <a:gd name="connsiteY4" fmla="*/ 240030 h 240030"/>
                  <a:gd name="connsiteX5" fmla="*/ 36195 w 167640"/>
                  <a:gd name="connsiteY5" fmla="*/ 240030 h 240030"/>
                  <a:gd name="connsiteX6" fmla="*/ 38100 w 167640"/>
                  <a:gd name="connsiteY6" fmla="*/ 68580 h 240030"/>
                  <a:gd name="connsiteX7" fmla="*/ 13335 w 167640"/>
                  <a:gd name="connsiteY7" fmla="*/ 51435 h 240030"/>
                  <a:gd name="connsiteX8" fmla="*/ 0 w 167640"/>
                  <a:gd name="connsiteY8" fmla="*/ 1905 h 240030"/>
                  <a:gd name="connsiteX0" fmla="*/ 0 w 161925"/>
                  <a:gd name="connsiteY0" fmla="*/ 1905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1905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925" h="240030">
                    <a:moveTo>
                      <a:pt x="0" y="1905"/>
                    </a:moveTo>
                    <a:lnTo>
                      <a:pt x="161925" y="0"/>
                    </a:lnTo>
                    <a:lnTo>
                      <a:pt x="156210" y="47625"/>
                    </a:lnTo>
                    <a:lnTo>
                      <a:pt x="131445" y="66675"/>
                    </a:lnTo>
                    <a:lnTo>
                      <a:pt x="131445" y="240030"/>
                    </a:lnTo>
                    <a:lnTo>
                      <a:pt x="30480" y="240030"/>
                    </a:lnTo>
                    <a:lnTo>
                      <a:pt x="32385" y="68580"/>
                    </a:lnTo>
                    <a:lnTo>
                      <a:pt x="7620" y="51435"/>
                    </a:lnTo>
                    <a:lnTo>
                      <a:pt x="0" y="190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GB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8" name="Freeform 112">
                <a:extLst>
                  <a:ext uri="{FF2B5EF4-FFF2-40B4-BE49-F238E27FC236}">
                    <a16:creationId xmlns:a16="http://schemas.microsoft.com/office/drawing/2014/main" id="{3DCFEF02-92A6-5C48-83C2-7AAEC3EE1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389" y="2753002"/>
                <a:ext cx="292100" cy="411162"/>
              </a:xfrm>
              <a:custGeom>
                <a:avLst/>
                <a:gdLst>
                  <a:gd name="T0" fmla="*/ 1021 w 2297"/>
                  <a:gd name="T1" fmla="*/ 1425 h 3213"/>
                  <a:gd name="T2" fmla="*/ 1051 w 2297"/>
                  <a:gd name="T3" fmla="*/ 1373 h 3213"/>
                  <a:gd name="T4" fmla="*/ 2297 w 2297"/>
                  <a:gd name="T5" fmla="*/ 1310 h 3213"/>
                  <a:gd name="T6" fmla="*/ 2297 w 2297"/>
                  <a:gd name="T7" fmla="*/ 1197 h 3213"/>
                  <a:gd name="T8" fmla="*/ 1532 w 2297"/>
                  <a:gd name="T9" fmla="*/ 993 h 3213"/>
                  <a:gd name="T10" fmla="*/ 1048 w 2297"/>
                  <a:gd name="T11" fmla="*/ 1165 h 3213"/>
                  <a:gd name="T12" fmla="*/ 971 w 2297"/>
                  <a:gd name="T13" fmla="*/ 1067 h 3213"/>
                  <a:gd name="T14" fmla="*/ 785 w 2297"/>
                  <a:gd name="T15" fmla="*/ 1018 h 3213"/>
                  <a:gd name="T16" fmla="*/ 94 w 2297"/>
                  <a:gd name="T17" fmla="*/ 0 h 3213"/>
                  <a:gd name="T18" fmla="*/ 0 w 2297"/>
                  <a:gd name="T19" fmla="*/ 64 h 3213"/>
                  <a:gd name="T20" fmla="*/ 223 w 2297"/>
                  <a:gd name="T21" fmla="*/ 823 h 3213"/>
                  <a:gd name="T22" fmla="*/ 603 w 2297"/>
                  <a:gd name="T23" fmla="*/ 1134 h 3213"/>
                  <a:gd name="T24" fmla="*/ 617 w 2297"/>
                  <a:gd name="T25" fmla="*/ 1428 h 3213"/>
                  <a:gd name="T26" fmla="*/ 49 w 2297"/>
                  <a:gd name="T27" fmla="*/ 2541 h 3213"/>
                  <a:gd name="T28" fmla="*/ 149 w 2297"/>
                  <a:gd name="T29" fmla="*/ 2592 h 3213"/>
                  <a:gd name="T30" fmla="*/ 723 w 2297"/>
                  <a:gd name="T31" fmla="*/ 1956 h 3213"/>
                  <a:gd name="T32" fmla="*/ 723 w 2297"/>
                  <a:gd name="T33" fmla="*/ 3213 h 3213"/>
                  <a:gd name="T34" fmla="*/ 912 w 2297"/>
                  <a:gd name="T35" fmla="*/ 3213 h 3213"/>
                  <a:gd name="T36" fmla="*/ 912 w 2297"/>
                  <a:gd name="T37" fmla="*/ 1502 h 3213"/>
                  <a:gd name="T38" fmla="*/ 1021 w 2297"/>
                  <a:gd name="T39" fmla="*/ 1425 h 3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97" h="3213">
                    <a:moveTo>
                      <a:pt x="1021" y="1425"/>
                    </a:moveTo>
                    <a:cubicBezTo>
                      <a:pt x="1034" y="1409"/>
                      <a:pt x="1043" y="1391"/>
                      <a:pt x="1051" y="1373"/>
                    </a:cubicBezTo>
                    <a:lnTo>
                      <a:pt x="2297" y="1310"/>
                    </a:lnTo>
                    <a:lnTo>
                      <a:pt x="2297" y="1197"/>
                    </a:lnTo>
                    <a:lnTo>
                      <a:pt x="1532" y="993"/>
                    </a:lnTo>
                    <a:lnTo>
                      <a:pt x="1048" y="1165"/>
                    </a:lnTo>
                    <a:cubicBezTo>
                      <a:pt x="1031" y="1127"/>
                      <a:pt x="1006" y="1094"/>
                      <a:pt x="971" y="1067"/>
                    </a:cubicBezTo>
                    <a:cubicBezTo>
                      <a:pt x="915" y="1026"/>
                      <a:pt x="848" y="1010"/>
                      <a:pt x="785" y="1018"/>
                    </a:cubicBezTo>
                    <a:lnTo>
                      <a:pt x="94" y="0"/>
                    </a:lnTo>
                    <a:lnTo>
                      <a:pt x="0" y="64"/>
                    </a:lnTo>
                    <a:lnTo>
                      <a:pt x="223" y="823"/>
                    </a:lnTo>
                    <a:lnTo>
                      <a:pt x="603" y="1134"/>
                    </a:lnTo>
                    <a:cubicBezTo>
                      <a:pt x="544" y="1226"/>
                      <a:pt x="551" y="1344"/>
                      <a:pt x="617" y="1428"/>
                    </a:cubicBezTo>
                    <a:lnTo>
                      <a:pt x="49" y="2541"/>
                    </a:lnTo>
                    <a:lnTo>
                      <a:pt x="149" y="2592"/>
                    </a:lnTo>
                    <a:lnTo>
                      <a:pt x="723" y="1956"/>
                    </a:lnTo>
                    <a:lnTo>
                      <a:pt x="723" y="3213"/>
                    </a:lnTo>
                    <a:lnTo>
                      <a:pt x="912" y="3213"/>
                    </a:lnTo>
                    <a:lnTo>
                      <a:pt x="912" y="1502"/>
                    </a:lnTo>
                    <a:cubicBezTo>
                      <a:pt x="969" y="1485"/>
                      <a:pt x="1005" y="1446"/>
                      <a:pt x="1021" y="142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E0204A8C-8E58-144F-9CD9-3D420694C998}"/>
                  </a:ext>
                </a:extLst>
              </p:cNvPr>
              <p:cNvSpPr/>
              <p:nvPr/>
            </p:nvSpPr>
            <p:spPr>
              <a:xfrm>
                <a:off x="8365305" y="2937141"/>
                <a:ext cx="36000" cy="323388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76743B38-E4DF-AE41-A214-245692269187}"/>
                </a:ext>
              </a:extLst>
            </p:cNvPr>
            <p:cNvGrpSpPr/>
            <p:nvPr/>
          </p:nvGrpSpPr>
          <p:grpSpPr>
            <a:xfrm>
              <a:off x="9714098" y="3131563"/>
              <a:ext cx="174890" cy="356534"/>
              <a:chOff x="8279389" y="2753002"/>
              <a:chExt cx="292100" cy="595479"/>
            </a:xfrm>
          </p:grpSpPr>
          <p:sp>
            <p:nvSpPr>
              <p:cNvPr id="154" name="Freeform: Shape 114">
                <a:extLst>
                  <a:ext uri="{FF2B5EF4-FFF2-40B4-BE49-F238E27FC236}">
                    <a16:creationId xmlns:a16="http://schemas.microsoft.com/office/drawing/2014/main" id="{7AFDD286-E221-FB4B-AB73-922ECE006EA7}"/>
                  </a:ext>
                </a:extLst>
              </p:cNvPr>
              <p:cNvSpPr/>
              <p:nvPr/>
            </p:nvSpPr>
            <p:spPr bwMode="auto">
              <a:xfrm flipH="1">
                <a:off x="8350696" y="3246449"/>
                <a:ext cx="66484" cy="102032"/>
              </a:xfrm>
              <a:custGeom>
                <a:avLst/>
                <a:gdLst>
                  <a:gd name="connsiteX0" fmla="*/ 0 w 158115"/>
                  <a:gd name="connsiteY0" fmla="*/ 0 h 240030"/>
                  <a:gd name="connsiteX1" fmla="*/ 158115 w 158115"/>
                  <a:gd name="connsiteY1" fmla="*/ 0 h 240030"/>
                  <a:gd name="connsiteX2" fmla="*/ 156210 w 158115"/>
                  <a:gd name="connsiteY2" fmla="*/ 47625 h 240030"/>
                  <a:gd name="connsiteX3" fmla="*/ 131445 w 158115"/>
                  <a:gd name="connsiteY3" fmla="*/ 66675 h 240030"/>
                  <a:gd name="connsiteX4" fmla="*/ 131445 w 158115"/>
                  <a:gd name="connsiteY4" fmla="*/ 240030 h 240030"/>
                  <a:gd name="connsiteX5" fmla="*/ 30480 w 158115"/>
                  <a:gd name="connsiteY5" fmla="*/ 240030 h 240030"/>
                  <a:gd name="connsiteX6" fmla="*/ 32385 w 158115"/>
                  <a:gd name="connsiteY6" fmla="*/ 68580 h 240030"/>
                  <a:gd name="connsiteX7" fmla="*/ 7620 w 158115"/>
                  <a:gd name="connsiteY7" fmla="*/ 51435 h 240030"/>
                  <a:gd name="connsiteX8" fmla="*/ 0 w 158115"/>
                  <a:gd name="connsiteY8" fmla="*/ 0 h 240030"/>
                  <a:gd name="connsiteX0" fmla="*/ 0 w 161925"/>
                  <a:gd name="connsiteY0" fmla="*/ 0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0 h 240030"/>
                  <a:gd name="connsiteX0" fmla="*/ 0 w 167640"/>
                  <a:gd name="connsiteY0" fmla="*/ 1905 h 240030"/>
                  <a:gd name="connsiteX1" fmla="*/ 167640 w 167640"/>
                  <a:gd name="connsiteY1" fmla="*/ 0 h 240030"/>
                  <a:gd name="connsiteX2" fmla="*/ 161925 w 167640"/>
                  <a:gd name="connsiteY2" fmla="*/ 47625 h 240030"/>
                  <a:gd name="connsiteX3" fmla="*/ 137160 w 167640"/>
                  <a:gd name="connsiteY3" fmla="*/ 66675 h 240030"/>
                  <a:gd name="connsiteX4" fmla="*/ 137160 w 167640"/>
                  <a:gd name="connsiteY4" fmla="*/ 240030 h 240030"/>
                  <a:gd name="connsiteX5" fmla="*/ 36195 w 167640"/>
                  <a:gd name="connsiteY5" fmla="*/ 240030 h 240030"/>
                  <a:gd name="connsiteX6" fmla="*/ 38100 w 167640"/>
                  <a:gd name="connsiteY6" fmla="*/ 68580 h 240030"/>
                  <a:gd name="connsiteX7" fmla="*/ 13335 w 167640"/>
                  <a:gd name="connsiteY7" fmla="*/ 51435 h 240030"/>
                  <a:gd name="connsiteX8" fmla="*/ 0 w 167640"/>
                  <a:gd name="connsiteY8" fmla="*/ 1905 h 240030"/>
                  <a:gd name="connsiteX0" fmla="*/ 0 w 161925"/>
                  <a:gd name="connsiteY0" fmla="*/ 1905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1905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925" h="240030">
                    <a:moveTo>
                      <a:pt x="0" y="1905"/>
                    </a:moveTo>
                    <a:lnTo>
                      <a:pt x="161925" y="0"/>
                    </a:lnTo>
                    <a:lnTo>
                      <a:pt x="156210" y="47625"/>
                    </a:lnTo>
                    <a:lnTo>
                      <a:pt x="131445" y="66675"/>
                    </a:lnTo>
                    <a:lnTo>
                      <a:pt x="131445" y="240030"/>
                    </a:lnTo>
                    <a:lnTo>
                      <a:pt x="30480" y="240030"/>
                    </a:lnTo>
                    <a:lnTo>
                      <a:pt x="32385" y="68580"/>
                    </a:lnTo>
                    <a:lnTo>
                      <a:pt x="7620" y="51435"/>
                    </a:lnTo>
                    <a:lnTo>
                      <a:pt x="0" y="190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GB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5" name="Freeform 112">
                <a:extLst>
                  <a:ext uri="{FF2B5EF4-FFF2-40B4-BE49-F238E27FC236}">
                    <a16:creationId xmlns:a16="http://schemas.microsoft.com/office/drawing/2014/main" id="{006C1253-DD76-8D4B-979E-CCC9505EB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389" y="2753002"/>
                <a:ext cx="292100" cy="411162"/>
              </a:xfrm>
              <a:custGeom>
                <a:avLst/>
                <a:gdLst>
                  <a:gd name="T0" fmla="*/ 1021 w 2297"/>
                  <a:gd name="T1" fmla="*/ 1425 h 3213"/>
                  <a:gd name="T2" fmla="*/ 1051 w 2297"/>
                  <a:gd name="T3" fmla="*/ 1373 h 3213"/>
                  <a:gd name="T4" fmla="*/ 2297 w 2297"/>
                  <a:gd name="T5" fmla="*/ 1310 h 3213"/>
                  <a:gd name="T6" fmla="*/ 2297 w 2297"/>
                  <a:gd name="T7" fmla="*/ 1197 h 3213"/>
                  <a:gd name="T8" fmla="*/ 1532 w 2297"/>
                  <a:gd name="T9" fmla="*/ 993 h 3213"/>
                  <a:gd name="T10" fmla="*/ 1048 w 2297"/>
                  <a:gd name="T11" fmla="*/ 1165 h 3213"/>
                  <a:gd name="T12" fmla="*/ 971 w 2297"/>
                  <a:gd name="T13" fmla="*/ 1067 h 3213"/>
                  <a:gd name="T14" fmla="*/ 785 w 2297"/>
                  <a:gd name="T15" fmla="*/ 1018 h 3213"/>
                  <a:gd name="T16" fmla="*/ 94 w 2297"/>
                  <a:gd name="T17" fmla="*/ 0 h 3213"/>
                  <a:gd name="T18" fmla="*/ 0 w 2297"/>
                  <a:gd name="T19" fmla="*/ 64 h 3213"/>
                  <a:gd name="T20" fmla="*/ 223 w 2297"/>
                  <a:gd name="T21" fmla="*/ 823 h 3213"/>
                  <a:gd name="T22" fmla="*/ 603 w 2297"/>
                  <a:gd name="T23" fmla="*/ 1134 h 3213"/>
                  <a:gd name="T24" fmla="*/ 617 w 2297"/>
                  <a:gd name="T25" fmla="*/ 1428 h 3213"/>
                  <a:gd name="T26" fmla="*/ 49 w 2297"/>
                  <a:gd name="T27" fmla="*/ 2541 h 3213"/>
                  <a:gd name="T28" fmla="*/ 149 w 2297"/>
                  <a:gd name="T29" fmla="*/ 2592 h 3213"/>
                  <a:gd name="T30" fmla="*/ 723 w 2297"/>
                  <a:gd name="T31" fmla="*/ 1956 h 3213"/>
                  <a:gd name="T32" fmla="*/ 723 w 2297"/>
                  <a:gd name="T33" fmla="*/ 3213 h 3213"/>
                  <a:gd name="T34" fmla="*/ 912 w 2297"/>
                  <a:gd name="T35" fmla="*/ 3213 h 3213"/>
                  <a:gd name="T36" fmla="*/ 912 w 2297"/>
                  <a:gd name="T37" fmla="*/ 1502 h 3213"/>
                  <a:gd name="T38" fmla="*/ 1021 w 2297"/>
                  <a:gd name="T39" fmla="*/ 1425 h 3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97" h="3213">
                    <a:moveTo>
                      <a:pt x="1021" y="1425"/>
                    </a:moveTo>
                    <a:cubicBezTo>
                      <a:pt x="1034" y="1409"/>
                      <a:pt x="1043" y="1391"/>
                      <a:pt x="1051" y="1373"/>
                    </a:cubicBezTo>
                    <a:lnTo>
                      <a:pt x="2297" y="1310"/>
                    </a:lnTo>
                    <a:lnTo>
                      <a:pt x="2297" y="1197"/>
                    </a:lnTo>
                    <a:lnTo>
                      <a:pt x="1532" y="993"/>
                    </a:lnTo>
                    <a:lnTo>
                      <a:pt x="1048" y="1165"/>
                    </a:lnTo>
                    <a:cubicBezTo>
                      <a:pt x="1031" y="1127"/>
                      <a:pt x="1006" y="1094"/>
                      <a:pt x="971" y="1067"/>
                    </a:cubicBezTo>
                    <a:cubicBezTo>
                      <a:pt x="915" y="1026"/>
                      <a:pt x="848" y="1010"/>
                      <a:pt x="785" y="1018"/>
                    </a:cubicBezTo>
                    <a:lnTo>
                      <a:pt x="94" y="0"/>
                    </a:lnTo>
                    <a:lnTo>
                      <a:pt x="0" y="64"/>
                    </a:lnTo>
                    <a:lnTo>
                      <a:pt x="223" y="823"/>
                    </a:lnTo>
                    <a:lnTo>
                      <a:pt x="603" y="1134"/>
                    </a:lnTo>
                    <a:cubicBezTo>
                      <a:pt x="544" y="1226"/>
                      <a:pt x="551" y="1344"/>
                      <a:pt x="617" y="1428"/>
                    </a:cubicBezTo>
                    <a:lnTo>
                      <a:pt x="49" y="2541"/>
                    </a:lnTo>
                    <a:lnTo>
                      <a:pt x="149" y="2592"/>
                    </a:lnTo>
                    <a:lnTo>
                      <a:pt x="723" y="1956"/>
                    </a:lnTo>
                    <a:lnTo>
                      <a:pt x="723" y="3213"/>
                    </a:lnTo>
                    <a:lnTo>
                      <a:pt x="912" y="3213"/>
                    </a:lnTo>
                    <a:lnTo>
                      <a:pt x="912" y="1502"/>
                    </a:lnTo>
                    <a:cubicBezTo>
                      <a:pt x="969" y="1485"/>
                      <a:pt x="1005" y="1446"/>
                      <a:pt x="1021" y="142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A1AF506C-10A3-D743-8AB5-B708C6561701}"/>
                  </a:ext>
                </a:extLst>
              </p:cNvPr>
              <p:cNvSpPr/>
              <p:nvPr/>
            </p:nvSpPr>
            <p:spPr>
              <a:xfrm>
                <a:off x="8365305" y="2937141"/>
                <a:ext cx="36000" cy="323388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2978595E-11A6-3742-9A9E-9E8988EAE794}"/>
                </a:ext>
              </a:extLst>
            </p:cNvPr>
            <p:cNvGrpSpPr/>
            <p:nvPr/>
          </p:nvGrpSpPr>
          <p:grpSpPr>
            <a:xfrm>
              <a:off x="10041476" y="3139088"/>
              <a:ext cx="174890" cy="356534"/>
              <a:chOff x="8279389" y="2753002"/>
              <a:chExt cx="292100" cy="595479"/>
            </a:xfrm>
          </p:grpSpPr>
          <p:sp>
            <p:nvSpPr>
              <p:cNvPr id="151" name="Freeform: Shape 114">
                <a:extLst>
                  <a:ext uri="{FF2B5EF4-FFF2-40B4-BE49-F238E27FC236}">
                    <a16:creationId xmlns:a16="http://schemas.microsoft.com/office/drawing/2014/main" id="{21564C78-92C2-704B-83A0-5170151E72B2}"/>
                  </a:ext>
                </a:extLst>
              </p:cNvPr>
              <p:cNvSpPr/>
              <p:nvPr/>
            </p:nvSpPr>
            <p:spPr bwMode="auto">
              <a:xfrm flipH="1">
                <a:off x="8350696" y="3246449"/>
                <a:ext cx="66484" cy="102032"/>
              </a:xfrm>
              <a:custGeom>
                <a:avLst/>
                <a:gdLst>
                  <a:gd name="connsiteX0" fmla="*/ 0 w 158115"/>
                  <a:gd name="connsiteY0" fmla="*/ 0 h 240030"/>
                  <a:gd name="connsiteX1" fmla="*/ 158115 w 158115"/>
                  <a:gd name="connsiteY1" fmla="*/ 0 h 240030"/>
                  <a:gd name="connsiteX2" fmla="*/ 156210 w 158115"/>
                  <a:gd name="connsiteY2" fmla="*/ 47625 h 240030"/>
                  <a:gd name="connsiteX3" fmla="*/ 131445 w 158115"/>
                  <a:gd name="connsiteY3" fmla="*/ 66675 h 240030"/>
                  <a:gd name="connsiteX4" fmla="*/ 131445 w 158115"/>
                  <a:gd name="connsiteY4" fmla="*/ 240030 h 240030"/>
                  <a:gd name="connsiteX5" fmla="*/ 30480 w 158115"/>
                  <a:gd name="connsiteY5" fmla="*/ 240030 h 240030"/>
                  <a:gd name="connsiteX6" fmla="*/ 32385 w 158115"/>
                  <a:gd name="connsiteY6" fmla="*/ 68580 h 240030"/>
                  <a:gd name="connsiteX7" fmla="*/ 7620 w 158115"/>
                  <a:gd name="connsiteY7" fmla="*/ 51435 h 240030"/>
                  <a:gd name="connsiteX8" fmla="*/ 0 w 158115"/>
                  <a:gd name="connsiteY8" fmla="*/ 0 h 240030"/>
                  <a:gd name="connsiteX0" fmla="*/ 0 w 161925"/>
                  <a:gd name="connsiteY0" fmla="*/ 0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0 h 240030"/>
                  <a:gd name="connsiteX0" fmla="*/ 0 w 167640"/>
                  <a:gd name="connsiteY0" fmla="*/ 1905 h 240030"/>
                  <a:gd name="connsiteX1" fmla="*/ 167640 w 167640"/>
                  <a:gd name="connsiteY1" fmla="*/ 0 h 240030"/>
                  <a:gd name="connsiteX2" fmla="*/ 161925 w 167640"/>
                  <a:gd name="connsiteY2" fmla="*/ 47625 h 240030"/>
                  <a:gd name="connsiteX3" fmla="*/ 137160 w 167640"/>
                  <a:gd name="connsiteY3" fmla="*/ 66675 h 240030"/>
                  <a:gd name="connsiteX4" fmla="*/ 137160 w 167640"/>
                  <a:gd name="connsiteY4" fmla="*/ 240030 h 240030"/>
                  <a:gd name="connsiteX5" fmla="*/ 36195 w 167640"/>
                  <a:gd name="connsiteY5" fmla="*/ 240030 h 240030"/>
                  <a:gd name="connsiteX6" fmla="*/ 38100 w 167640"/>
                  <a:gd name="connsiteY6" fmla="*/ 68580 h 240030"/>
                  <a:gd name="connsiteX7" fmla="*/ 13335 w 167640"/>
                  <a:gd name="connsiteY7" fmla="*/ 51435 h 240030"/>
                  <a:gd name="connsiteX8" fmla="*/ 0 w 167640"/>
                  <a:gd name="connsiteY8" fmla="*/ 1905 h 240030"/>
                  <a:gd name="connsiteX0" fmla="*/ 0 w 161925"/>
                  <a:gd name="connsiteY0" fmla="*/ 1905 h 240030"/>
                  <a:gd name="connsiteX1" fmla="*/ 161925 w 161925"/>
                  <a:gd name="connsiteY1" fmla="*/ 0 h 240030"/>
                  <a:gd name="connsiteX2" fmla="*/ 156210 w 161925"/>
                  <a:gd name="connsiteY2" fmla="*/ 47625 h 240030"/>
                  <a:gd name="connsiteX3" fmla="*/ 131445 w 161925"/>
                  <a:gd name="connsiteY3" fmla="*/ 66675 h 240030"/>
                  <a:gd name="connsiteX4" fmla="*/ 131445 w 161925"/>
                  <a:gd name="connsiteY4" fmla="*/ 240030 h 240030"/>
                  <a:gd name="connsiteX5" fmla="*/ 30480 w 161925"/>
                  <a:gd name="connsiteY5" fmla="*/ 240030 h 240030"/>
                  <a:gd name="connsiteX6" fmla="*/ 32385 w 161925"/>
                  <a:gd name="connsiteY6" fmla="*/ 68580 h 240030"/>
                  <a:gd name="connsiteX7" fmla="*/ 7620 w 161925"/>
                  <a:gd name="connsiteY7" fmla="*/ 51435 h 240030"/>
                  <a:gd name="connsiteX8" fmla="*/ 0 w 161925"/>
                  <a:gd name="connsiteY8" fmla="*/ 1905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925" h="240030">
                    <a:moveTo>
                      <a:pt x="0" y="1905"/>
                    </a:moveTo>
                    <a:lnTo>
                      <a:pt x="161925" y="0"/>
                    </a:lnTo>
                    <a:lnTo>
                      <a:pt x="156210" y="47625"/>
                    </a:lnTo>
                    <a:lnTo>
                      <a:pt x="131445" y="66675"/>
                    </a:lnTo>
                    <a:lnTo>
                      <a:pt x="131445" y="240030"/>
                    </a:lnTo>
                    <a:lnTo>
                      <a:pt x="30480" y="240030"/>
                    </a:lnTo>
                    <a:lnTo>
                      <a:pt x="32385" y="68580"/>
                    </a:lnTo>
                    <a:lnTo>
                      <a:pt x="7620" y="51435"/>
                    </a:lnTo>
                    <a:lnTo>
                      <a:pt x="0" y="1905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GB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2" name="Freeform 112">
                <a:extLst>
                  <a:ext uri="{FF2B5EF4-FFF2-40B4-BE49-F238E27FC236}">
                    <a16:creationId xmlns:a16="http://schemas.microsoft.com/office/drawing/2014/main" id="{FB49FB90-4DC2-6B43-9F29-930E19780D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9389" y="2753002"/>
                <a:ext cx="292100" cy="411162"/>
              </a:xfrm>
              <a:custGeom>
                <a:avLst/>
                <a:gdLst>
                  <a:gd name="T0" fmla="*/ 1021 w 2297"/>
                  <a:gd name="T1" fmla="*/ 1425 h 3213"/>
                  <a:gd name="T2" fmla="*/ 1051 w 2297"/>
                  <a:gd name="T3" fmla="*/ 1373 h 3213"/>
                  <a:gd name="T4" fmla="*/ 2297 w 2297"/>
                  <a:gd name="T5" fmla="*/ 1310 h 3213"/>
                  <a:gd name="T6" fmla="*/ 2297 w 2297"/>
                  <a:gd name="T7" fmla="*/ 1197 h 3213"/>
                  <a:gd name="T8" fmla="*/ 1532 w 2297"/>
                  <a:gd name="T9" fmla="*/ 993 h 3213"/>
                  <a:gd name="T10" fmla="*/ 1048 w 2297"/>
                  <a:gd name="T11" fmla="*/ 1165 h 3213"/>
                  <a:gd name="T12" fmla="*/ 971 w 2297"/>
                  <a:gd name="T13" fmla="*/ 1067 h 3213"/>
                  <a:gd name="T14" fmla="*/ 785 w 2297"/>
                  <a:gd name="T15" fmla="*/ 1018 h 3213"/>
                  <a:gd name="T16" fmla="*/ 94 w 2297"/>
                  <a:gd name="T17" fmla="*/ 0 h 3213"/>
                  <a:gd name="T18" fmla="*/ 0 w 2297"/>
                  <a:gd name="T19" fmla="*/ 64 h 3213"/>
                  <a:gd name="T20" fmla="*/ 223 w 2297"/>
                  <a:gd name="T21" fmla="*/ 823 h 3213"/>
                  <a:gd name="T22" fmla="*/ 603 w 2297"/>
                  <a:gd name="T23" fmla="*/ 1134 h 3213"/>
                  <a:gd name="T24" fmla="*/ 617 w 2297"/>
                  <a:gd name="T25" fmla="*/ 1428 h 3213"/>
                  <a:gd name="T26" fmla="*/ 49 w 2297"/>
                  <a:gd name="T27" fmla="*/ 2541 h 3213"/>
                  <a:gd name="T28" fmla="*/ 149 w 2297"/>
                  <a:gd name="T29" fmla="*/ 2592 h 3213"/>
                  <a:gd name="T30" fmla="*/ 723 w 2297"/>
                  <a:gd name="T31" fmla="*/ 1956 h 3213"/>
                  <a:gd name="T32" fmla="*/ 723 w 2297"/>
                  <a:gd name="T33" fmla="*/ 3213 h 3213"/>
                  <a:gd name="T34" fmla="*/ 912 w 2297"/>
                  <a:gd name="T35" fmla="*/ 3213 h 3213"/>
                  <a:gd name="T36" fmla="*/ 912 w 2297"/>
                  <a:gd name="T37" fmla="*/ 1502 h 3213"/>
                  <a:gd name="T38" fmla="*/ 1021 w 2297"/>
                  <a:gd name="T39" fmla="*/ 1425 h 3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297" h="3213">
                    <a:moveTo>
                      <a:pt x="1021" y="1425"/>
                    </a:moveTo>
                    <a:cubicBezTo>
                      <a:pt x="1034" y="1409"/>
                      <a:pt x="1043" y="1391"/>
                      <a:pt x="1051" y="1373"/>
                    </a:cubicBezTo>
                    <a:lnTo>
                      <a:pt x="2297" y="1310"/>
                    </a:lnTo>
                    <a:lnTo>
                      <a:pt x="2297" y="1197"/>
                    </a:lnTo>
                    <a:lnTo>
                      <a:pt x="1532" y="993"/>
                    </a:lnTo>
                    <a:lnTo>
                      <a:pt x="1048" y="1165"/>
                    </a:lnTo>
                    <a:cubicBezTo>
                      <a:pt x="1031" y="1127"/>
                      <a:pt x="1006" y="1094"/>
                      <a:pt x="971" y="1067"/>
                    </a:cubicBezTo>
                    <a:cubicBezTo>
                      <a:pt x="915" y="1026"/>
                      <a:pt x="848" y="1010"/>
                      <a:pt x="785" y="1018"/>
                    </a:cubicBezTo>
                    <a:lnTo>
                      <a:pt x="94" y="0"/>
                    </a:lnTo>
                    <a:lnTo>
                      <a:pt x="0" y="64"/>
                    </a:lnTo>
                    <a:lnTo>
                      <a:pt x="223" y="823"/>
                    </a:lnTo>
                    <a:lnTo>
                      <a:pt x="603" y="1134"/>
                    </a:lnTo>
                    <a:cubicBezTo>
                      <a:pt x="544" y="1226"/>
                      <a:pt x="551" y="1344"/>
                      <a:pt x="617" y="1428"/>
                    </a:cubicBezTo>
                    <a:lnTo>
                      <a:pt x="49" y="2541"/>
                    </a:lnTo>
                    <a:lnTo>
                      <a:pt x="149" y="2592"/>
                    </a:lnTo>
                    <a:lnTo>
                      <a:pt x="723" y="1956"/>
                    </a:lnTo>
                    <a:lnTo>
                      <a:pt x="723" y="3213"/>
                    </a:lnTo>
                    <a:lnTo>
                      <a:pt x="912" y="3213"/>
                    </a:lnTo>
                    <a:lnTo>
                      <a:pt x="912" y="1502"/>
                    </a:lnTo>
                    <a:cubicBezTo>
                      <a:pt x="969" y="1485"/>
                      <a:pt x="1005" y="1446"/>
                      <a:pt x="1021" y="142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2D36DAE5-B3AE-C84A-B5B9-4898A0D8B2F7}"/>
                  </a:ext>
                </a:extLst>
              </p:cNvPr>
              <p:cNvSpPr/>
              <p:nvPr/>
            </p:nvSpPr>
            <p:spPr>
              <a:xfrm>
                <a:off x="8365305" y="2937141"/>
                <a:ext cx="36000" cy="323388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77" name="Supply Chain">
            <a:extLst>
              <a:ext uri="{FF2B5EF4-FFF2-40B4-BE49-F238E27FC236}">
                <a16:creationId xmlns:a16="http://schemas.microsoft.com/office/drawing/2014/main" id="{DD78768F-0C89-F440-B3E0-E0ED066407FD}"/>
              </a:ext>
            </a:extLst>
          </p:cNvPr>
          <p:cNvGrpSpPr/>
          <p:nvPr/>
        </p:nvGrpSpPr>
        <p:grpSpPr>
          <a:xfrm>
            <a:off x="1125008" y="2724262"/>
            <a:ext cx="2154405" cy="217239"/>
            <a:chOff x="1108191" y="2718801"/>
            <a:chExt cx="2154405" cy="217239"/>
          </a:xfrm>
        </p:grpSpPr>
        <p:sp>
          <p:nvSpPr>
            <p:cNvPr id="120" name="Investment in skills &amp; ">
              <a:extLst>
                <a:ext uri="{FF2B5EF4-FFF2-40B4-BE49-F238E27FC236}">
                  <a16:creationId xmlns:a16="http://schemas.microsoft.com/office/drawing/2014/main" id="{BFF4C0CA-57A2-5A43-8CEB-1F10864A99E3}"/>
                </a:ext>
              </a:extLst>
            </p:cNvPr>
            <p:cNvSpPr/>
            <p:nvPr/>
          </p:nvSpPr>
          <p:spPr>
            <a:xfrm>
              <a:off x="1108191" y="2718801"/>
              <a:ext cx="2154405" cy="2172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vestment in skills &amp; supply chain</a:t>
              </a:r>
            </a:p>
          </p:txBody>
        </p:sp>
        <p:grpSp>
          <p:nvGrpSpPr>
            <p:cNvPr id="164" name="Graphic 162">
              <a:extLst>
                <a:ext uri="{FF2B5EF4-FFF2-40B4-BE49-F238E27FC236}">
                  <a16:creationId xmlns:a16="http://schemas.microsoft.com/office/drawing/2014/main" id="{E211620E-3E91-8542-BA5D-99868C8328C7}"/>
                </a:ext>
              </a:extLst>
            </p:cNvPr>
            <p:cNvGrpSpPr/>
            <p:nvPr/>
          </p:nvGrpSpPr>
          <p:grpSpPr>
            <a:xfrm>
              <a:off x="2808768" y="2744772"/>
              <a:ext cx="169382" cy="169613"/>
              <a:chOff x="3754002" y="1514680"/>
              <a:chExt cx="1826303" cy="1828799"/>
            </a:xfrm>
            <a:solidFill>
              <a:schemeClr val="tx1"/>
            </a:solidFill>
          </p:grpSpPr>
          <p:sp>
            <p:nvSpPr>
              <p:cNvPr id="165" name="Freeform 164">
                <a:extLst>
                  <a:ext uri="{FF2B5EF4-FFF2-40B4-BE49-F238E27FC236}">
                    <a16:creationId xmlns:a16="http://schemas.microsoft.com/office/drawing/2014/main" id="{C8CC58D1-E2C8-764C-B086-87FE12EC1205}"/>
                  </a:ext>
                </a:extLst>
              </p:cNvPr>
              <p:cNvSpPr/>
              <p:nvPr/>
            </p:nvSpPr>
            <p:spPr>
              <a:xfrm>
                <a:off x="4210117" y="1514680"/>
                <a:ext cx="913458" cy="456738"/>
              </a:xfrm>
              <a:custGeom>
                <a:avLst/>
                <a:gdLst>
                  <a:gd name="connsiteX0" fmla="*/ 639667 w 913458"/>
                  <a:gd name="connsiteY0" fmla="*/ 365760 h 456738"/>
                  <a:gd name="connsiteX1" fmla="*/ 694302 w 913458"/>
                  <a:gd name="connsiteY1" fmla="*/ 73152 h 456738"/>
                  <a:gd name="connsiteX2" fmla="*/ 520573 w 913458"/>
                  <a:gd name="connsiteY2" fmla="*/ 9221 h 456738"/>
                  <a:gd name="connsiteX3" fmla="*/ 456729 w 913458"/>
                  <a:gd name="connsiteY3" fmla="*/ 365760 h 456738"/>
                  <a:gd name="connsiteX4" fmla="*/ 383677 w 913458"/>
                  <a:gd name="connsiteY4" fmla="*/ 0 h 456738"/>
                  <a:gd name="connsiteX5" fmla="*/ 209948 w 913458"/>
                  <a:gd name="connsiteY5" fmla="*/ 63931 h 456738"/>
                  <a:gd name="connsiteX6" fmla="*/ 273792 w 913458"/>
                  <a:gd name="connsiteY6" fmla="*/ 365760 h 456738"/>
                  <a:gd name="connsiteX7" fmla="*/ 155312 w 913458"/>
                  <a:gd name="connsiteY7" fmla="*/ 118642 h 456738"/>
                  <a:gd name="connsiteX8" fmla="*/ 0 w 913458"/>
                  <a:gd name="connsiteY8" fmla="*/ 456739 h 456738"/>
                  <a:gd name="connsiteX9" fmla="*/ 913459 w 913458"/>
                  <a:gd name="connsiteY9" fmla="*/ 456739 h 456738"/>
                  <a:gd name="connsiteX10" fmla="*/ 758146 w 913458"/>
                  <a:gd name="connsiteY10" fmla="*/ 118642 h 456738"/>
                  <a:gd name="connsiteX11" fmla="*/ 639667 w 913458"/>
                  <a:gd name="connsiteY11" fmla="*/ 365760 h 456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13458" h="456738">
                    <a:moveTo>
                      <a:pt x="639667" y="365760"/>
                    </a:moveTo>
                    <a:lnTo>
                      <a:pt x="694302" y="73152"/>
                    </a:lnTo>
                    <a:cubicBezTo>
                      <a:pt x="639667" y="45489"/>
                      <a:pt x="584417" y="18442"/>
                      <a:pt x="520573" y="9221"/>
                    </a:cubicBezTo>
                    <a:lnTo>
                      <a:pt x="456729" y="365760"/>
                    </a:lnTo>
                    <a:lnTo>
                      <a:pt x="383677" y="0"/>
                    </a:lnTo>
                    <a:cubicBezTo>
                      <a:pt x="319833" y="9221"/>
                      <a:pt x="265198" y="27663"/>
                      <a:pt x="209948" y="63931"/>
                    </a:cubicBezTo>
                    <a:lnTo>
                      <a:pt x="273792" y="365760"/>
                    </a:lnTo>
                    <a:lnTo>
                      <a:pt x="155312" y="118642"/>
                    </a:lnTo>
                    <a:cubicBezTo>
                      <a:pt x="54636" y="201014"/>
                      <a:pt x="0" y="319656"/>
                      <a:pt x="0" y="456739"/>
                    </a:cubicBezTo>
                    <a:lnTo>
                      <a:pt x="913459" y="456739"/>
                    </a:lnTo>
                    <a:cubicBezTo>
                      <a:pt x="913459" y="319656"/>
                      <a:pt x="858823" y="200400"/>
                      <a:pt x="758146" y="118642"/>
                    </a:cubicBezTo>
                    <a:lnTo>
                      <a:pt x="639667" y="365760"/>
                    </a:ln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6" name="Freeform 165">
                <a:extLst>
                  <a:ext uri="{FF2B5EF4-FFF2-40B4-BE49-F238E27FC236}">
                    <a16:creationId xmlns:a16="http://schemas.microsoft.com/office/drawing/2014/main" id="{7AC6201A-D532-8041-B684-E05340BEB400}"/>
                  </a:ext>
                </a:extLst>
              </p:cNvPr>
              <p:cNvSpPr/>
              <p:nvPr/>
            </p:nvSpPr>
            <p:spPr>
              <a:xfrm>
                <a:off x="4302200" y="2154607"/>
                <a:ext cx="730521" cy="457353"/>
              </a:xfrm>
              <a:custGeom>
                <a:avLst/>
                <a:gdLst>
                  <a:gd name="connsiteX0" fmla="*/ 730522 w 730521"/>
                  <a:gd name="connsiteY0" fmla="*/ 0 h 457353"/>
                  <a:gd name="connsiteX1" fmla="*/ 0 w 730521"/>
                  <a:gd name="connsiteY1" fmla="*/ 0 h 457353"/>
                  <a:gd name="connsiteX2" fmla="*/ 365261 w 730521"/>
                  <a:gd name="connsiteY2" fmla="*/ 457354 h 457353"/>
                  <a:gd name="connsiteX3" fmla="*/ 730522 w 730521"/>
                  <a:gd name="connsiteY3" fmla="*/ 0 h 457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0521" h="457353">
                    <a:moveTo>
                      <a:pt x="730522" y="0"/>
                    </a:moveTo>
                    <a:lnTo>
                      <a:pt x="0" y="0"/>
                    </a:lnTo>
                    <a:cubicBezTo>
                      <a:pt x="18417" y="256339"/>
                      <a:pt x="173729" y="457354"/>
                      <a:pt x="365261" y="457354"/>
                    </a:cubicBezTo>
                    <a:cubicBezTo>
                      <a:pt x="556793" y="457354"/>
                      <a:pt x="702897" y="255725"/>
                      <a:pt x="730522" y="0"/>
                    </a:cubicBez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7" name="Freeform 166">
                <a:extLst>
                  <a:ext uri="{FF2B5EF4-FFF2-40B4-BE49-F238E27FC236}">
                    <a16:creationId xmlns:a16="http://schemas.microsoft.com/office/drawing/2014/main" id="{A51739EB-6E81-6546-B68E-04E1F4189CC0}"/>
                  </a:ext>
                </a:extLst>
              </p:cNvPr>
              <p:cNvSpPr/>
              <p:nvPr/>
            </p:nvSpPr>
            <p:spPr>
              <a:xfrm>
                <a:off x="4210731" y="2611346"/>
                <a:ext cx="912844" cy="731520"/>
              </a:xfrm>
              <a:custGeom>
                <a:avLst/>
                <a:gdLst>
                  <a:gd name="connsiteX0" fmla="*/ 456729 w 912844"/>
                  <a:gd name="connsiteY0" fmla="*/ 183187 h 731520"/>
                  <a:gd name="connsiteX1" fmla="*/ 91469 w 912844"/>
                  <a:gd name="connsiteY1" fmla="*/ 0 h 731520"/>
                  <a:gd name="connsiteX2" fmla="*/ 0 w 912844"/>
                  <a:gd name="connsiteY2" fmla="*/ 54710 h 731520"/>
                  <a:gd name="connsiteX3" fmla="*/ 0 w 912844"/>
                  <a:gd name="connsiteY3" fmla="*/ 731520 h 731520"/>
                  <a:gd name="connsiteX4" fmla="*/ 912845 w 912844"/>
                  <a:gd name="connsiteY4" fmla="*/ 731520 h 731520"/>
                  <a:gd name="connsiteX5" fmla="*/ 912845 w 912844"/>
                  <a:gd name="connsiteY5" fmla="*/ 55325 h 731520"/>
                  <a:gd name="connsiteX6" fmla="*/ 821376 w 912844"/>
                  <a:gd name="connsiteY6" fmla="*/ 615 h 731520"/>
                  <a:gd name="connsiteX7" fmla="*/ 456729 w 912844"/>
                  <a:gd name="connsiteY7" fmla="*/ 183187 h 731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2844" h="731520">
                    <a:moveTo>
                      <a:pt x="456729" y="183187"/>
                    </a:moveTo>
                    <a:lnTo>
                      <a:pt x="91469" y="0"/>
                    </a:lnTo>
                    <a:lnTo>
                      <a:pt x="0" y="54710"/>
                    </a:lnTo>
                    <a:lnTo>
                      <a:pt x="0" y="731520"/>
                    </a:lnTo>
                    <a:lnTo>
                      <a:pt x="912845" y="731520"/>
                    </a:lnTo>
                    <a:lnTo>
                      <a:pt x="912845" y="55325"/>
                    </a:lnTo>
                    <a:lnTo>
                      <a:pt x="821376" y="615"/>
                    </a:lnTo>
                    <a:lnTo>
                      <a:pt x="456729" y="183187"/>
                    </a:ln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8" name="Freeform 167">
                <a:extLst>
                  <a:ext uri="{FF2B5EF4-FFF2-40B4-BE49-F238E27FC236}">
                    <a16:creationId xmlns:a16="http://schemas.microsoft.com/office/drawing/2014/main" id="{E16BEC2F-02FF-F348-AA5E-599A5C0577E1}"/>
                  </a:ext>
                </a:extLst>
              </p:cNvPr>
              <p:cNvSpPr/>
              <p:nvPr/>
            </p:nvSpPr>
            <p:spPr>
              <a:xfrm>
                <a:off x="5306513" y="2776091"/>
                <a:ext cx="273792" cy="566774"/>
              </a:xfrm>
              <a:custGeom>
                <a:avLst/>
                <a:gdLst>
                  <a:gd name="connsiteX0" fmla="*/ 173729 w 273792"/>
                  <a:gd name="connsiteY0" fmla="*/ 110035 h 566774"/>
                  <a:gd name="connsiteX1" fmla="*/ 0 w 273792"/>
                  <a:gd name="connsiteY1" fmla="*/ 0 h 566774"/>
                  <a:gd name="connsiteX2" fmla="*/ 0 w 273792"/>
                  <a:gd name="connsiteY2" fmla="*/ 566774 h 566774"/>
                  <a:gd name="connsiteX3" fmla="*/ 273792 w 273792"/>
                  <a:gd name="connsiteY3" fmla="*/ 566774 h 566774"/>
                  <a:gd name="connsiteX4" fmla="*/ 173729 w 273792"/>
                  <a:gd name="connsiteY4" fmla="*/ 110035 h 566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792" h="566774">
                    <a:moveTo>
                      <a:pt x="173729" y="110035"/>
                    </a:moveTo>
                    <a:lnTo>
                      <a:pt x="0" y="0"/>
                    </a:lnTo>
                    <a:lnTo>
                      <a:pt x="0" y="566774"/>
                    </a:lnTo>
                    <a:lnTo>
                      <a:pt x="273792" y="566774"/>
                    </a:lnTo>
                    <a:lnTo>
                      <a:pt x="173729" y="110035"/>
                    </a:ln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9" name="Freeform 168">
                <a:extLst>
                  <a:ext uri="{FF2B5EF4-FFF2-40B4-BE49-F238E27FC236}">
                    <a16:creationId xmlns:a16="http://schemas.microsoft.com/office/drawing/2014/main" id="{11D6C9DD-EC54-3644-A9F4-7B61A65A1FE1}"/>
                  </a:ext>
                </a:extLst>
              </p:cNvPr>
              <p:cNvSpPr/>
              <p:nvPr/>
            </p:nvSpPr>
            <p:spPr>
              <a:xfrm>
                <a:off x="3754002" y="2776706"/>
                <a:ext cx="273791" cy="566774"/>
              </a:xfrm>
              <a:custGeom>
                <a:avLst/>
                <a:gdLst>
                  <a:gd name="connsiteX0" fmla="*/ 0 w 273791"/>
                  <a:gd name="connsiteY0" fmla="*/ 566774 h 566774"/>
                  <a:gd name="connsiteX1" fmla="*/ 273792 w 273791"/>
                  <a:gd name="connsiteY1" fmla="*/ 566774 h 566774"/>
                  <a:gd name="connsiteX2" fmla="*/ 273792 w 273791"/>
                  <a:gd name="connsiteY2" fmla="*/ 0 h 566774"/>
                  <a:gd name="connsiteX3" fmla="*/ 100063 w 273791"/>
                  <a:gd name="connsiteY3" fmla="*/ 110035 h 566774"/>
                  <a:gd name="connsiteX4" fmla="*/ 0 w 273791"/>
                  <a:gd name="connsiteY4" fmla="*/ 566774 h 566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791" h="566774">
                    <a:moveTo>
                      <a:pt x="0" y="566774"/>
                    </a:moveTo>
                    <a:lnTo>
                      <a:pt x="273792" y="566774"/>
                    </a:lnTo>
                    <a:lnTo>
                      <a:pt x="273792" y="0"/>
                    </a:lnTo>
                    <a:lnTo>
                      <a:pt x="100063" y="110035"/>
                    </a:lnTo>
                    <a:lnTo>
                      <a:pt x="0" y="566774"/>
                    </a:ln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70" name="Graphic 162">
              <a:extLst>
                <a:ext uri="{FF2B5EF4-FFF2-40B4-BE49-F238E27FC236}">
                  <a16:creationId xmlns:a16="http://schemas.microsoft.com/office/drawing/2014/main" id="{007777C0-2282-9842-B268-7BBBFE1FE6D4}"/>
                </a:ext>
              </a:extLst>
            </p:cNvPr>
            <p:cNvGrpSpPr/>
            <p:nvPr/>
          </p:nvGrpSpPr>
          <p:grpSpPr>
            <a:xfrm>
              <a:off x="3018318" y="2744772"/>
              <a:ext cx="169382" cy="169613"/>
              <a:chOff x="3754002" y="1514680"/>
              <a:chExt cx="1826303" cy="1828799"/>
            </a:xfrm>
            <a:solidFill>
              <a:schemeClr val="tx1"/>
            </a:solidFill>
          </p:grpSpPr>
          <p:sp>
            <p:nvSpPr>
              <p:cNvPr id="171" name="Freeform 170">
                <a:extLst>
                  <a:ext uri="{FF2B5EF4-FFF2-40B4-BE49-F238E27FC236}">
                    <a16:creationId xmlns:a16="http://schemas.microsoft.com/office/drawing/2014/main" id="{12CB43E0-1304-BD44-83C7-352ADBADD6A2}"/>
                  </a:ext>
                </a:extLst>
              </p:cNvPr>
              <p:cNvSpPr/>
              <p:nvPr/>
            </p:nvSpPr>
            <p:spPr>
              <a:xfrm>
                <a:off x="4210117" y="1514680"/>
                <a:ext cx="913458" cy="456738"/>
              </a:xfrm>
              <a:custGeom>
                <a:avLst/>
                <a:gdLst>
                  <a:gd name="connsiteX0" fmla="*/ 639667 w 913458"/>
                  <a:gd name="connsiteY0" fmla="*/ 365760 h 456738"/>
                  <a:gd name="connsiteX1" fmla="*/ 694302 w 913458"/>
                  <a:gd name="connsiteY1" fmla="*/ 73152 h 456738"/>
                  <a:gd name="connsiteX2" fmla="*/ 520573 w 913458"/>
                  <a:gd name="connsiteY2" fmla="*/ 9221 h 456738"/>
                  <a:gd name="connsiteX3" fmla="*/ 456729 w 913458"/>
                  <a:gd name="connsiteY3" fmla="*/ 365760 h 456738"/>
                  <a:gd name="connsiteX4" fmla="*/ 383677 w 913458"/>
                  <a:gd name="connsiteY4" fmla="*/ 0 h 456738"/>
                  <a:gd name="connsiteX5" fmla="*/ 209948 w 913458"/>
                  <a:gd name="connsiteY5" fmla="*/ 63931 h 456738"/>
                  <a:gd name="connsiteX6" fmla="*/ 273792 w 913458"/>
                  <a:gd name="connsiteY6" fmla="*/ 365760 h 456738"/>
                  <a:gd name="connsiteX7" fmla="*/ 155312 w 913458"/>
                  <a:gd name="connsiteY7" fmla="*/ 118642 h 456738"/>
                  <a:gd name="connsiteX8" fmla="*/ 0 w 913458"/>
                  <a:gd name="connsiteY8" fmla="*/ 456739 h 456738"/>
                  <a:gd name="connsiteX9" fmla="*/ 913459 w 913458"/>
                  <a:gd name="connsiteY9" fmla="*/ 456739 h 456738"/>
                  <a:gd name="connsiteX10" fmla="*/ 758146 w 913458"/>
                  <a:gd name="connsiteY10" fmla="*/ 118642 h 456738"/>
                  <a:gd name="connsiteX11" fmla="*/ 639667 w 913458"/>
                  <a:gd name="connsiteY11" fmla="*/ 365760 h 456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13458" h="456738">
                    <a:moveTo>
                      <a:pt x="639667" y="365760"/>
                    </a:moveTo>
                    <a:lnTo>
                      <a:pt x="694302" y="73152"/>
                    </a:lnTo>
                    <a:cubicBezTo>
                      <a:pt x="639667" y="45489"/>
                      <a:pt x="584417" y="18442"/>
                      <a:pt x="520573" y="9221"/>
                    </a:cubicBezTo>
                    <a:lnTo>
                      <a:pt x="456729" y="365760"/>
                    </a:lnTo>
                    <a:lnTo>
                      <a:pt x="383677" y="0"/>
                    </a:lnTo>
                    <a:cubicBezTo>
                      <a:pt x="319833" y="9221"/>
                      <a:pt x="265198" y="27663"/>
                      <a:pt x="209948" y="63931"/>
                    </a:cubicBezTo>
                    <a:lnTo>
                      <a:pt x="273792" y="365760"/>
                    </a:lnTo>
                    <a:lnTo>
                      <a:pt x="155312" y="118642"/>
                    </a:lnTo>
                    <a:cubicBezTo>
                      <a:pt x="54636" y="201014"/>
                      <a:pt x="0" y="319656"/>
                      <a:pt x="0" y="456739"/>
                    </a:cubicBezTo>
                    <a:lnTo>
                      <a:pt x="913459" y="456739"/>
                    </a:lnTo>
                    <a:cubicBezTo>
                      <a:pt x="913459" y="319656"/>
                      <a:pt x="858823" y="200400"/>
                      <a:pt x="758146" y="118642"/>
                    </a:cubicBezTo>
                    <a:lnTo>
                      <a:pt x="639667" y="365760"/>
                    </a:ln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2" name="Freeform 171">
                <a:extLst>
                  <a:ext uri="{FF2B5EF4-FFF2-40B4-BE49-F238E27FC236}">
                    <a16:creationId xmlns:a16="http://schemas.microsoft.com/office/drawing/2014/main" id="{26350513-8E42-8349-A4CE-31AB7EF092F0}"/>
                  </a:ext>
                </a:extLst>
              </p:cNvPr>
              <p:cNvSpPr/>
              <p:nvPr/>
            </p:nvSpPr>
            <p:spPr>
              <a:xfrm>
                <a:off x="4302200" y="2154607"/>
                <a:ext cx="730521" cy="457353"/>
              </a:xfrm>
              <a:custGeom>
                <a:avLst/>
                <a:gdLst>
                  <a:gd name="connsiteX0" fmla="*/ 730522 w 730521"/>
                  <a:gd name="connsiteY0" fmla="*/ 0 h 457353"/>
                  <a:gd name="connsiteX1" fmla="*/ 0 w 730521"/>
                  <a:gd name="connsiteY1" fmla="*/ 0 h 457353"/>
                  <a:gd name="connsiteX2" fmla="*/ 365261 w 730521"/>
                  <a:gd name="connsiteY2" fmla="*/ 457354 h 457353"/>
                  <a:gd name="connsiteX3" fmla="*/ 730522 w 730521"/>
                  <a:gd name="connsiteY3" fmla="*/ 0 h 457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0521" h="457353">
                    <a:moveTo>
                      <a:pt x="730522" y="0"/>
                    </a:moveTo>
                    <a:lnTo>
                      <a:pt x="0" y="0"/>
                    </a:lnTo>
                    <a:cubicBezTo>
                      <a:pt x="18417" y="256339"/>
                      <a:pt x="173729" y="457354"/>
                      <a:pt x="365261" y="457354"/>
                    </a:cubicBezTo>
                    <a:cubicBezTo>
                      <a:pt x="556793" y="457354"/>
                      <a:pt x="702897" y="255725"/>
                      <a:pt x="730522" y="0"/>
                    </a:cubicBez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" name="Freeform 172">
                <a:extLst>
                  <a:ext uri="{FF2B5EF4-FFF2-40B4-BE49-F238E27FC236}">
                    <a16:creationId xmlns:a16="http://schemas.microsoft.com/office/drawing/2014/main" id="{69C51598-8DFD-5144-BFCF-8712F42D4AC7}"/>
                  </a:ext>
                </a:extLst>
              </p:cNvPr>
              <p:cNvSpPr/>
              <p:nvPr/>
            </p:nvSpPr>
            <p:spPr>
              <a:xfrm>
                <a:off x="4210731" y="2611346"/>
                <a:ext cx="912844" cy="731520"/>
              </a:xfrm>
              <a:custGeom>
                <a:avLst/>
                <a:gdLst>
                  <a:gd name="connsiteX0" fmla="*/ 456729 w 912844"/>
                  <a:gd name="connsiteY0" fmla="*/ 183187 h 731520"/>
                  <a:gd name="connsiteX1" fmla="*/ 91469 w 912844"/>
                  <a:gd name="connsiteY1" fmla="*/ 0 h 731520"/>
                  <a:gd name="connsiteX2" fmla="*/ 0 w 912844"/>
                  <a:gd name="connsiteY2" fmla="*/ 54710 h 731520"/>
                  <a:gd name="connsiteX3" fmla="*/ 0 w 912844"/>
                  <a:gd name="connsiteY3" fmla="*/ 731520 h 731520"/>
                  <a:gd name="connsiteX4" fmla="*/ 912845 w 912844"/>
                  <a:gd name="connsiteY4" fmla="*/ 731520 h 731520"/>
                  <a:gd name="connsiteX5" fmla="*/ 912845 w 912844"/>
                  <a:gd name="connsiteY5" fmla="*/ 55325 h 731520"/>
                  <a:gd name="connsiteX6" fmla="*/ 821376 w 912844"/>
                  <a:gd name="connsiteY6" fmla="*/ 615 h 731520"/>
                  <a:gd name="connsiteX7" fmla="*/ 456729 w 912844"/>
                  <a:gd name="connsiteY7" fmla="*/ 183187 h 731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2844" h="731520">
                    <a:moveTo>
                      <a:pt x="456729" y="183187"/>
                    </a:moveTo>
                    <a:lnTo>
                      <a:pt x="91469" y="0"/>
                    </a:lnTo>
                    <a:lnTo>
                      <a:pt x="0" y="54710"/>
                    </a:lnTo>
                    <a:lnTo>
                      <a:pt x="0" y="731520"/>
                    </a:lnTo>
                    <a:lnTo>
                      <a:pt x="912845" y="731520"/>
                    </a:lnTo>
                    <a:lnTo>
                      <a:pt x="912845" y="55325"/>
                    </a:lnTo>
                    <a:lnTo>
                      <a:pt x="821376" y="615"/>
                    </a:lnTo>
                    <a:lnTo>
                      <a:pt x="456729" y="183187"/>
                    </a:ln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4" name="Freeform 173">
                <a:extLst>
                  <a:ext uri="{FF2B5EF4-FFF2-40B4-BE49-F238E27FC236}">
                    <a16:creationId xmlns:a16="http://schemas.microsoft.com/office/drawing/2014/main" id="{8FFC8080-1CBA-C94A-AADA-AE339072A0A1}"/>
                  </a:ext>
                </a:extLst>
              </p:cNvPr>
              <p:cNvSpPr/>
              <p:nvPr/>
            </p:nvSpPr>
            <p:spPr>
              <a:xfrm>
                <a:off x="5306513" y="2776091"/>
                <a:ext cx="273792" cy="566774"/>
              </a:xfrm>
              <a:custGeom>
                <a:avLst/>
                <a:gdLst>
                  <a:gd name="connsiteX0" fmla="*/ 173729 w 273792"/>
                  <a:gd name="connsiteY0" fmla="*/ 110035 h 566774"/>
                  <a:gd name="connsiteX1" fmla="*/ 0 w 273792"/>
                  <a:gd name="connsiteY1" fmla="*/ 0 h 566774"/>
                  <a:gd name="connsiteX2" fmla="*/ 0 w 273792"/>
                  <a:gd name="connsiteY2" fmla="*/ 566774 h 566774"/>
                  <a:gd name="connsiteX3" fmla="*/ 273792 w 273792"/>
                  <a:gd name="connsiteY3" fmla="*/ 566774 h 566774"/>
                  <a:gd name="connsiteX4" fmla="*/ 173729 w 273792"/>
                  <a:gd name="connsiteY4" fmla="*/ 110035 h 566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792" h="566774">
                    <a:moveTo>
                      <a:pt x="173729" y="110035"/>
                    </a:moveTo>
                    <a:lnTo>
                      <a:pt x="0" y="0"/>
                    </a:lnTo>
                    <a:lnTo>
                      <a:pt x="0" y="566774"/>
                    </a:lnTo>
                    <a:lnTo>
                      <a:pt x="273792" y="566774"/>
                    </a:lnTo>
                    <a:lnTo>
                      <a:pt x="173729" y="110035"/>
                    </a:ln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5" name="Freeform 174">
                <a:extLst>
                  <a:ext uri="{FF2B5EF4-FFF2-40B4-BE49-F238E27FC236}">
                    <a16:creationId xmlns:a16="http://schemas.microsoft.com/office/drawing/2014/main" id="{40B47FFE-891D-8941-B5C5-3648CC338F9F}"/>
                  </a:ext>
                </a:extLst>
              </p:cNvPr>
              <p:cNvSpPr/>
              <p:nvPr/>
            </p:nvSpPr>
            <p:spPr>
              <a:xfrm>
                <a:off x="3754002" y="2776706"/>
                <a:ext cx="273791" cy="566774"/>
              </a:xfrm>
              <a:custGeom>
                <a:avLst/>
                <a:gdLst>
                  <a:gd name="connsiteX0" fmla="*/ 0 w 273791"/>
                  <a:gd name="connsiteY0" fmla="*/ 566774 h 566774"/>
                  <a:gd name="connsiteX1" fmla="*/ 273792 w 273791"/>
                  <a:gd name="connsiteY1" fmla="*/ 566774 h 566774"/>
                  <a:gd name="connsiteX2" fmla="*/ 273792 w 273791"/>
                  <a:gd name="connsiteY2" fmla="*/ 0 h 566774"/>
                  <a:gd name="connsiteX3" fmla="*/ 100063 w 273791"/>
                  <a:gd name="connsiteY3" fmla="*/ 110035 h 566774"/>
                  <a:gd name="connsiteX4" fmla="*/ 0 w 273791"/>
                  <a:gd name="connsiteY4" fmla="*/ 566774 h 566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3791" h="566774">
                    <a:moveTo>
                      <a:pt x="0" y="566774"/>
                    </a:moveTo>
                    <a:lnTo>
                      <a:pt x="273792" y="566774"/>
                    </a:lnTo>
                    <a:lnTo>
                      <a:pt x="273792" y="0"/>
                    </a:lnTo>
                    <a:lnTo>
                      <a:pt x="100063" y="110035"/>
                    </a:lnTo>
                    <a:lnTo>
                      <a:pt x="0" y="566774"/>
                    </a:lnTo>
                    <a:close/>
                  </a:path>
                </a:pathLst>
              </a:custGeom>
              <a:grpFill/>
              <a:ln w="613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189" name="Arrow 2">
            <a:extLst>
              <a:ext uri="{FF2B5EF4-FFF2-40B4-BE49-F238E27FC236}">
                <a16:creationId xmlns:a16="http://schemas.microsoft.com/office/drawing/2014/main" id="{B3124CBE-9F0B-0B40-B151-9648AE8C4DFC}"/>
              </a:ext>
            </a:extLst>
          </p:cNvPr>
          <p:cNvCxnSpPr>
            <a:cxnSpLocks/>
            <a:stCxn id="139" idx="0"/>
            <a:endCxn id="42" idx="2"/>
          </p:cNvCxnSpPr>
          <p:nvPr/>
        </p:nvCxnSpPr>
        <p:spPr>
          <a:xfrm rot="16200000" flipV="1">
            <a:off x="7566988" y="4981817"/>
            <a:ext cx="1481642" cy="351979"/>
          </a:xfrm>
          <a:prstGeom prst="bentConnector3">
            <a:avLst>
              <a:gd name="adj1" fmla="val 50000"/>
            </a:avLst>
          </a:prstGeom>
          <a:ln w="28575" cap="rnd">
            <a:solidFill>
              <a:schemeClr val="accent3">
                <a:lumMod val="20000"/>
                <a:lumOff val="80000"/>
              </a:schemeClr>
            </a:solidFill>
            <a:prstDash val="sysDot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6" name="Arrow 3">
            <a:extLst>
              <a:ext uri="{FF2B5EF4-FFF2-40B4-BE49-F238E27FC236}">
                <a16:creationId xmlns:a16="http://schemas.microsoft.com/office/drawing/2014/main" id="{BBF90FE5-4098-1E4F-B602-2EFC115E2B2D}"/>
              </a:ext>
            </a:extLst>
          </p:cNvPr>
          <p:cNvGrpSpPr/>
          <p:nvPr/>
        </p:nvGrpSpPr>
        <p:grpSpPr>
          <a:xfrm>
            <a:off x="738964" y="1746754"/>
            <a:ext cx="1477386" cy="1391927"/>
            <a:chOff x="738964" y="1746754"/>
            <a:chExt cx="1477386" cy="1391927"/>
          </a:xfrm>
        </p:grpSpPr>
        <p:cxnSp>
          <p:nvCxnSpPr>
            <p:cNvPr id="194" name="Arrow 2">
              <a:extLst>
                <a:ext uri="{FF2B5EF4-FFF2-40B4-BE49-F238E27FC236}">
                  <a16:creationId xmlns:a16="http://schemas.microsoft.com/office/drawing/2014/main" id="{770C01B4-2271-4842-9F7C-4C507C5AA11A}"/>
                </a:ext>
              </a:extLst>
            </p:cNvPr>
            <p:cNvCxnSpPr>
              <a:cxnSpLocks/>
              <a:stCxn id="114" idx="2"/>
            </p:cNvCxnSpPr>
            <p:nvPr/>
          </p:nvCxnSpPr>
          <p:spPr>
            <a:xfrm rot="5400000">
              <a:off x="349324" y="2136394"/>
              <a:ext cx="1391927" cy="612648"/>
            </a:xfrm>
            <a:prstGeom prst="bentConnector3">
              <a:avLst>
                <a:gd name="adj1" fmla="val 19343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Arrow 2">
              <a:extLst>
                <a:ext uri="{FF2B5EF4-FFF2-40B4-BE49-F238E27FC236}">
                  <a16:creationId xmlns:a16="http://schemas.microsoft.com/office/drawing/2014/main" id="{D99F2DC1-85E0-ED43-B0A2-FD0E9E9567E9}"/>
                </a:ext>
              </a:extLst>
            </p:cNvPr>
            <p:cNvCxnSpPr>
              <a:cxnSpLocks/>
              <a:stCxn id="114" idx="2"/>
            </p:cNvCxnSpPr>
            <p:nvPr/>
          </p:nvCxnSpPr>
          <p:spPr>
            <a:xfrm rot="16200000" flipH="1">
              <a:off x="791195" y="2307171"/>
              <a:ext cx="1306712" cy="185880"/>
            </a:xfrm>
            <a:prstGeom prst="bentConnector3">
              <a:avLst>
                <a:gd name="adj1" fmla="val 20967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Arrow 2">
              <a:extLst>
                <a:ext uri="{FF2B5EF4-FFF2-40B4-BE49-F238E27FC236}">
                  <a16:creationId xmlns:a16="http://schemas.microsoft.com/office/drawing/2014/main" id="{7173D6CF-2610-BE4D-BF75-DE2ACD2677B7}"/>
                </a:ext>
              </a:extLst>
            </p:cNvPr>
            <p:cNvCxnSpPr>
              <a:cxnSpLocks/>
              <a:stCxn id="114" idx="2"/>
              <a:endCxn id="44" idx="0"/>
            </p:cNvCxnSpPr>
            <p:nvPr/>
          </p:nvCxnSpPr>
          <p:spPr>
            <a:xfrm rot="16200000" flipH="1">
              <a:off x="1138048" y="1960318"/>
              <a:ext cx="1291865" cy="864738"/>
            </a:xfrm>
            <a:prstGeom prst="bentConnector3">
              <a:avLst>
                <a:gd name="adj1" fmla="val 21385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5" name="Arrow 4">
            <a:extLst>
              <a:ext uri="{FF2B5EF4-FFF2-40B4-BE49-F238E27FC236}">
                <a16:creationId xmlns:a16="http://schemas.microsoft.com/office/drawing/2014/main" id="{DB2F8586-2A65-984A-A5B7-4DC479DE8212}"/>
              </a:ext>
            </a:extLst>
          </p:cNvPr>
          <p:cNvGrpSpPr/>
          <p:nvPr/>
        </p:nvGrpSpPr>
        <p:grpSpPr>
          <a:xfrm>
            <a:off x="2992209" y="1746754"/>
            <a:ext cx="1851365" cy="1303510"/>
            <a:chOff x="2992209" y="1746754"/>
            <a:chExt cx="1851365" cy="1303510"/>
          </a:xfrm>
        </p:grpSpPr>
        <p:cxnSp>
          <p:nvCxnSpPr>
            <p:cNvPr id="207" name="Arrow 2">
              <a:extLst>
                <a:ext uri="{FF2B5EF4-FFF2-40B4-BE49-F238E27FC236}">
                  <a16:creationId xmlns:a16="http://schemas.microsoft.com/office/drawing/2014/main" id="{58851314-8EB3-2846-96B6-B25EF8996B64}"/>
                </a:ext>
              </a:extLst>
            </p:cNvPr>
            <p:cNvCxnSpPr>
              <a:cxnSpLocks/>
              <a:stCxn id="113" idx="2"/>
            </p:cNvCxnSpPr>
            <p:nvPr/>
          </p:nvCxnSpPr>
          <p:spPr>
            <a:xfrm rot="5400000">
              <a:off x="2657107" y="2081857"/>
              <a:ext cx="1303509" cy="633305"/>
            </a:xfrm>
            <a:prstGeom prst="bentConnector3">
              <a:avLst>
                <a:gd name="adj1" fmla="val 21564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Arrow 2">
              <a:extLst>
                <a:ext uri="{FF2B5EF4-FFF2-40B4-BE49-F238E27FC236}">
                  <a16:creationId xmlns:a16="http://schemas.microsoft.com/office/drawing/2014/main" id="{0A2CF51C-9B55-4441-A13F-3DC67E2BFAB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244360" y="2528954"/>
              <a:ext cx="991236" cy="1"/>
            </a:xfrm>
            <a:prstGeom prst="bentConnector3">
              <a:avLst>
                <a:gd name="adj1" fmla="val 50000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Arrow 2">
              <a:extLst>
                <a:ext uri="{FF2B5EF4-FFF2-40B4-BE49-F238E27FC236}">
                  <a16:creationId xmlns:a16="http://schemas.microsoft.com/office/drawing/2014/main" id="{00441B1C-EBF8-4E4A-8FD5-54BF4A0F74FA}"/>
                </a:ext>
              </a:extLst>
            </p:cNvPr>
            <p:cNvCxnSpPr>
              <a:cxnSpLocks/>
              <a:stCxn id="113" idx="2"/>
              <a:endCxn id="121" idx="0"/>
            </p:cNvCxnSpPr>
            <p:nvPr/>
          </p:nvCxnSpPr>
          <p:spPr>
            <a:xfrm rot="16200000" flipH="1">
              <a:off x="3738924" y="1633343"/>
              <a:ext cx="991239" cy="1218061"/>
            </a:xfrm>
            <a:prstGeom prst="bentConnector3">
              <a:avLst>
                <a:gd name="adj1" fmla="val 28757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2" name="Rectangle 241">
            <a:extLst>
              <a:ext uri="{FF2B5EF4-FFF2-40B4-BE49-F238E27FC236}">
                <a16:creationId xmlns:a16="http://schemas.microsoft.com/office/drawing/2014/main" id="{29334687-E930-2144-9812-915701E7E6DF}"/>
              </a:ext>
            </a:extLst>
          </p:cNvPr>
          <p:cNvSpPr/>
          <p:nvPr/>
        </p:nvSpPr>
        <p:spPr>
          <a:xfrm>
            <a:off x="3657782" y="3117581"/>
            <a:ext cx="151789" cy="1809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59" name="Arrow 5">
            <a:extLst>
              <a:ext uri="{FF2B5EF4-FFF2-40B4-BE49-F238E27FC236}">
                <a16:creationId xmlns:a16="http://schemas.microsoft.com/office/drawing/2014/main" id="{283159A7-E85D-5D4A-A8CC-AFFDAF81307C}"/>
              </a:ext>
            </a:extLst>
          </p:cNvPr>
          <p:cNvGrpSpPr/>
          <p:nvPr/>
        </p:nvGrpSpPr>
        <p:grpSpPr>
          <a:xfrm>
            <a:off x="6564511" y="1746754"/>
            <a:ext cx="3536514" cy="1062831"/>
            <a:chOff x="6564511" y="1746754"/>
            <a:chExt cx="3536514" cy="1062831"/>
          </a:xfrm>
        </p:grpSpPr>
        <p:cxnSp>
          <p:nvCxnSpPr>
            <p:cNvPr id="236" name="Arrow 2">
              <a:extLst>
                <a:ext uri="{FF2B5EF4-FFF2-40B4-BE49-F238E27FC236}">
                  <a16:creationId xmlns:a16="http://schemas.microsoft.com/office/drawing/2014/main" id="{31274A94-AE8A-454C-85CF-98FDD8E0D09E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8313917" y="2462469"/>
              <a:ext cx="694230" cy="2"/>
            </a:xfrm>
            <a:prstGeom prst="bentConnector3">
              <a:avLst>
                <a:gd name="adj1" fmla="val 50000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Arrow 2">
              <a:extLst>
                <a:ext uri="{FF2B5EF4-FFF2-40B4-BE49-F238E27FC236}">
                  <a16:creationId xmlns:a16="http://schemas.microsoft.com/office/drawing/2014/main" id="{6E04A31D-C0A1-C947-BDA2-F54ABC476DAE}"/>
                </a:ext>
              </a:extLst>
            </p:cNvPr>
            <p:cNvCxnSpPr>
              <a:cxnSpLocks/>
              <a:stCxn id="115" idx="2"/>
              <a:endCxn id="122" idx="0"/>
            </p:cNvCxnSpPr>
            <p:nvPr/>
          </p:nvCxnSpPr>
          <p:spPr>
            <a:xfrm rot="16200000" flipH="1">
              <a:off x="6220357" y="2090909"/>
              <a:ext cx="692889" cy="4580"/>
            </a:xfrm>
            <a:prstGeom prst="bentConnector3">
              <a:avLst>
                <a:gd name="adj1" fmla="val 50000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Arrow 2">
              <a:extLst>
                <a:ext uri="{FF2B5EF4-FFF2-40B4-BE49-F238E27FC236}">
                  <a16:creationId xmlns:a16="http://schemas.microsoft.com/office/drawing/2014/main" id="{D061B85E-29B1-9F43-89A3-C39C73CDEDD7}"/>
                </a:ext>
              </a:extLst>
            </p:cNvPr>
            <p:cNvCxnSpPr>
              <a:cxnSpLocks/>
              <a:stCxn id="115" idx="2"/>
              <a:endCxn id="119" idx="0"/>
            </p:cNvCxnSpPr>
            <p:nvPr/>
          </p:nvCxnSpPr>
          <p:spPr>
            <a:xfrm rot="16200000" flipH="1">
              <a:off x="7977339" y="333927"/>
              <a:ext cx="710858" cy="3536514"/>
            </a:xfrm>
            <a:prstGeom prst="bentConnector3">
              <a:avLst>
                <a:gd name="adj1" fmla="val 50000"/>
              </a:avLst>
            </a:prstGeom>
            <a:ln w="28575" cap="rnd">
              <a:solidFill>
                <a:schemeClr val="accent3">
                  <a:lumMod val="20000"/>
                  <a:lumOff val="80000"/>
                </a:schemeClr>
              </a:solidFill>
              <a:prstDash val="sysDot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63" name="Arrow 2">
            <a:extLst>
              <a:ext uri="{FF2B5EF4-FFF2-40B4-BE49-F238E27FC236}">
                <a16:creationId xmlns:a16="http://schemas.microsoft.com/office/drawing/2014/main" id="{89A010EF-1A6A-9B42-8915-1D256C8265F0}"/>
              </a:ext>
            </a:extLst>
          </p:cNvPr>
          <p:cNvCxnSpPr>
            <a:cxnSpLocks/>
            <a:stCxn id="129" idx="0"/>
            <a:endCxn id="127" idx="2"/>
          </p:cNvCxnSpPr>
          <p:nvPr/>
        </p:nvCxnSpPr>
        <p:spPr>
          <a:xfrm rot="16200000" flipV="1">
            <a:off x="3630656" y="5793977"/>
            <a:ext cx="198166" cy="11135"/>
          </a:xfrm>
          <a:prstGeom prst="bentConnector3">
            <a:avLst>
              <a:gd name="adj1" fmla="val 50000"/>
            </a:avLst>
          </a:prstGeom>
          <a:ln w="28575" cap="rnd">
            <a:solidFill>
              <a:schemeClr val="accent3">
                <a:lumMod val="20000"/>
                <a:lumOff val="80000"/>
              </a:schemeClr>
            </a:solidFill>
            <a:prstDash val="sysDot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Arrow 7">
            <a:extLst>
              <a:ext uri="{FF2B5EF4-FFF2-40B4-BE49-F238E27FC236}">
                <a16:creationId xmlns:a16="http://schemas.microsoft.com/office/drawing/2014/main" id="{2CD7FC05-21F8-F641-A266-21C6F2B11DBC}"/>
              </a:ext>
            </a:extLst>
          </p:cNvPr>
          <p:cNvCxnSpPr>
            <a:cxnSpLocks/>
            <a:stCxn id="124" idx="0"/>
            <a:endCxn id="125" idx="2"/>
          </p:cNvCxnSpPr>
          <p:nvPr/>
        </p:nvCxnSpPr>
        <p:spPr>
          <a:xfrm rot="5400000" flipH="1" flipV="1">
            <a:off x="935200" y="4575748"/>
            <a:ext cx="1598239" cy="1047522"/>
          </a:xfrm>
          <a:prstGeom prst="bentConnector3">
            <a:avLst>
              <a:gd name="adj1" fmla="val 33002"/>
            </a:avLst>
          </a:prstGeom>
          <a:ln w="28575" cap="rnd">
            <a:solidFill>
              <a:schemeClr val="accent3">
                <a:lumMod val="20000"/>
                <a:lumOff val="80000"/>
              </a:schemeClr>
            </a:solidFill>
            <a:prstDash val="sysDot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Arrow 8">
            <a:extLst>
              <a:ext uri="{FF2B5EF4-FFF2-40B4-BE49-F238E27FC236}">
                <a16:creationId xmlns:a16="http://schemas.microsoft.com/office/drawing/2014/main" id="{775925B3-6B72-FF46-B2F3-B8C2596BD534}"/>
              </a:ext>
            </a:extLst>
          </p:cNvPr>
          <p:cNvCxnSpPr>
            <a:cxnSpLocks/>
            <a:stCxn id="126" idx="3"/>
            <a:endCxn id="132" idx="2"/>
          </p:cNvCxnSpPr>
          <p:nvPr/>
        </p:nvCxnSpPr>
        <p:spPr>
          <a:xfrm flipV="1">
            <a:off x="4447733" y="4569976"/>
            <a:ext cx="351439" cy="600407"/>
          </a:xfrm>
          <a:prstGeom prst="bentConnector2">
            <a:avLst/>
          </a:prstGeom>
          <a:ln w="28575" cap="rnd">
            <a:solidFill>
              <a:schemeClr val="accent3">
                <a:lumMod val="20000"/>
                <a:lumOff val="80000"/>
              </a:schemeClr>
            </a:solidFill>
            <a:prstDash val="sysDot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Arrow 10">
            <a:extLst>
              <a:ext uri="{FF2B5EF4-FFF2-40B4-BE49-F238E27FC236}">
                <a16:creationId xmlns:a16="http://schemas.microsoft.com/office/drawing/2014/main" id="{7B209473-1E33-C144-AAAC-88935F561D99}"/>
              </a:ext>
            </a:extLst>
          </p:cNvPr>
          <p:cNvCxnSpPr>
            <a:cxnSpLocks/>
            <a:stCxn id="130" idx="0"/>
            <a:endCxn id="35" idx="2"/>
          </p:cNvCxnSpPr>
          <p:nvPr/>
        </p:nvCxnSpPr>
        <p:spPr>
          <a:xfrm rot="5400000" flipH="1" flipV="1">
            <a:off x="6403891" y="4492776"/>
            <a:ext cx="1484253" cy="1327452"/>
          </a:xfrm>
          <a:prstGeom prst="bentConnector3">
            <a:avLst>
              <a:gd name="adj1" fmla="val 50000"/>
            </a:avLst>
          </a:prstGeom>
          <a:ln w="28575" cap="rnd">
            <a:solidFill>
              <a:schemeClr val="accent3">
                <a:lumMod val="20000"/>
                <a:lumOff val="80000"/>
              </a:schemeClr>
            </a:solidFill>
            <a:prstDash val="sysDot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Bus">
            <a:extLst>
              <a:ext uri="{FF2B5EF4-FFF2-40B4-BE49-F238E27FC236}">
                <a16:creationId xmlns:a16="http://schemas.microsoft.com/office/drawing/2014/main" id="{C004172D-66C8-B845-9231-B51AF1538AC5}"/>
              </a:ext>
            </a:extLst>
          </p:cNvPr>
          <p:cNvSpPr/>
          <p:nvPr/>
        </p:nvSpPr>
        <p:spPr>
          <a:xfrm>
            <a:off x="1316012" y="3081664"/>
            <a:ext cx="439293" cy="429533"/>
          </a:xfrm>
          <a:custGeom>
            <a:avLst/>
            <a:gdLst>
              <a:gd name="connsiteX0" fmla="*/ 2808026 w 2944715"/>
              <a:gd name="connsiteY0" fmla="*/ 757688 h 2879294"/>
              <a:gd name="connsiteX1" fmla="*/ 2794843 w 2944715"/>
              <a:gd name="connsiteY1" fmla="*/ 759671 h 2879294"/>
              <a:gd name="connsiteX2" fmla="*/ 2794843 w 2944715"/>
              <a:gd name="connsiteY2" fmla="*/ 404616 h 2879294"/>
              <a:gd name="connsiteX3" fmla="*/ 2789193 w 2944715"/>
              <a:gd name="connsiteY3" fmla="*/ 355055 h 2879294"/>
              <a:gd name="connsiteX4" fmla="*/ 2789193 w 2944715"/>
              <a:gd name="connsiteY4" fmla="*/ 344449 h 2879294"/>
              <a:gd name="connsiteX5" fmla="*/ 1471664 w 2944715"/>
              <a:gd name="connsiteY5" fmla="*/ 0 h 2879294"/>
              <a:gd name="connsiteX6" fmla="*/ 153342 w 2944715"/>
              <a:gd name="connsiteY6" fmla="*/ 344151 h 2879294"/>
              <a:gd name="connsiteX7" fmla="*/ 153342 w 2944715"/>
              <a:gd name="connsiteY7" fmla="*/ 354757 h 2879294"/>
              <a:gd name="connsiteX8" fmla="*/ 147196 w 2944715"/>
              <a:gd name="connsiteY8" fmla="*/ 404318 h 2879294"/>
              <a:gd name="connsiteX9" fmla="*/ 147196 w 2944715"/>
              <a:gd name="connsiteY9" fmla="*/ 759373 h 2879294"/>
              <a:gd name="connsiteX10" fmla="*/ 133914 w 2944715"/>
              <a:gd name="connsiteY10" fmla="*/ 757391 h 2879294"/>
              <a:gd name="connsiteX11" fmla="*/ 0 w 2944715"/>
              <a:gd name="connsiteY11" fmla="*/ 1158934 h 2879294"/>
              <a:gd name="connsiteX12" fmla="*/ 135401 w 2944715"/>
              <a:gd name="connsiteY12" fmla="*/ 1560774 h 2879294"/>
              <a:gd name="connsiteX13" fmla="*/ 147196 w 2944715"/>
              <a:gd name="connsiteY13" fmla="*/ 1558693 h 2879294"/>
              <a:gd name="connsiteX14" fmla="*/ 147196 w 2944715"/>
              <a:gd name="connsiteY14" fmla="*/ 2362373 h 2879294"/>
              <a:gd name="connsiteX15" fmla="*/ 375177 w 2944715"/>
              <a:gd name="connsiteY15" fmla="*/ 2590354 h 2879294"/>
              <a:gd name="connsiteX16" fmla="*/ 414032 w 2944715"/>
              <a:gd name="connsiteY16" fmla="*/ 2590354 h 2879294"/>
              <a:gd name="connsiteX17" fmla="*/ 414032 w 2944715"/>
              <a:gd name="connsiteY17" fmla="*/ 2729918 h 2879294"/>
              <a:gd name="connsiteX18" fmla="*/ 562715 w 2944715"/>
              <a:gd name="connsiteY18" fmla="*/ 2878601 h 2879294"/>
              <a:gd name="connsiteX19" fmla="*/ 706640 w 2944715"/>
              <a:gd name="connsiteY19" fmla="*/ 2878601 h 2879294"/>
              <a:gd name="connsiteX20" fmla="*/ 853837 w 2944715"/>
              <a:gd name="connsiteY20" fmla="*/ 2729918 h 2879294"/>
              <a:gd name="connsiteX21" fmla="*/ 853837 w 2944715"/>
              <a:gd name="connsiteY21" fmla="*/ 2590552 h 2879294"/>
              <a:gd name="connsiteX22" fmla="*/ 2089887 w 2944715"/>
              <a:gd name="connsiteY22" fmla="*/ 2590552 h 2879294"/>
              <a:gd name="connsiteX23" fmla="*/ 2089887 w 2944715"/>
              <a:gd name="connsiteY23" fmla="*/ 2730116 h 2879294"/>
              <a:gd name="connsiteX24" fmla="*/ 2237083 w 2944715"/>
              <a:gd name="connsiteY24" fmla="*/ 2879295 h 2879294"/>
              <a:gd name="connsiteX25" fmla="*/ 2378630 w 2944715"/>
              <a:gd name="connsiteY25" fmla="*/ 2879295 h 2879294"/>
              <a:gd name="connsiteX26" fmla="*/ 2527312 w 2944715"/>
              <a:gd name="connsiteY26" fmla="*/ 2730612 h 2879294"/>
              <a:gd name="connsiteX27" fmla="*/ 2527312 w 2944715"/>
              <a:gd name="connsiteY27" fmla="*/ 2590850 h 2879294"/>
              <a:gd name="connsiteX28" fmla="*/ 2566168 w 2944715"/>
              <a:gd name="connsiteY28" fmla="*/ 2590850 h 2879294"/>
              <a:gd name="connsiteX29" fmla="*/ 2796131 w 2944715"/>
              <a:gd name="connsiteY29" fmla="*/ 2363861 h 2879294"/>
              <a:gd name="connsiteX30" fmla="*/ 2796131 w 2944715"/>
              <a:gd name="connsiteY30" fmla="*/ 1558990 h 2879294"/>
              <a:gd name="connsiteX31" fmla="*/ 2809315 w 2944715"/>
              <a:gd name="connsiteY31" fmla="*/ 1561072 h 2879294"/>
              <a:gd name="connsiteX32" fmla="*/ 2944715 w 2944715"/>
              <a:gd name="connsiteY32" fmla="*/ 1159529 h 2879294"/>
              <a:gd name="connsiteX33" fmla="*/ 2808026 w 2944715"/>
              <a:gd name="connsiteY33" fmla="*/ 757688 h 2879294"/>
              <a:gd name="connsiteX34" fmla="*/ 967926 w 2944715"/>
              <a:gd name="connsiteY34" fmla="*/ 176834 h 2879294"/>
              <a:gd name="connsiteX35" fmla="*/ 1975401 w 2944715"/>
              <a:gd name="connsiteY35" fmla="*/ 176834 h 2879294"/>
              <a:gd name="connsiteX36" fmla="*/ 2061885 w 2944715"/>
              <a:gd name="connsiteY36" fmla="*/ 257563 h 2879294"/>
              <a:gd name="connsiteX37" fmla="*/ 1981160 w 2944715"/>
              <a:gd name="connsiteY37" fmla="*/ 344052 h 2879294"/>
              <a:gd name="connsiteX38" fmla="*/ 1975401 w 2944715"/>
              <a:gd name="connsiteY38" fmla="*/ 344052 h 2879294"/>
              <a:gd name="connsiteX39" fmla="*/ 967926 w 2944715"/>
              <a:gd name="connsiteY39" fmla="*/ 344052 h 2879294"/>
              <a:gd name="connsiteX40" fmla="*/ 881442 w 2944715"/>
              <a:gd name="connsiteY40" fmla="*/ 263322 h 2879294"/>
              <a:gd name="connsiteX41" fmla="*/ 962167 w 2944715"/>
              <a:gd name="connsiteY41" fmla="*/ 176834 h 2879294"/>
              <a:gd name="connsiteX42" fmla="*/ 967926 w 2944715"/>
              <a:gd name="connsiteY42" fmla="*/ 176834 h 2879294"/>
              <a:gd name="connsiteX43" fmla="*/ 632894 w 2944715"/>
              <a:gd name="connsiteY43" fmla="*/ 2359103 h 2879294"/>
              <a:gd name="connsiteX44" fmla="*/ 471226 w 2944715"/>
              <a:gd name="connsiteY44" fmla="*/ 2197435 h 2879294"/>
              <a:gd name="connsiteX45" fmla="*/ 632894 w 2944715"/>
              <a:gd name="connsiteY45" fmla="*/ 2035767 h 2879294"/>
              <a:gd name="connsiteX46" fmla="*/ 794562 w 2944715"/>
              <a:gd name="connsiteY46" fmla="*/ 2197435 h 2879294"/>
              <a:gd name="connsiteX47" fmla="*/ 794562 w 2944715"/>
              <a:gd name="connsiteY47" fmla="*/ 2197534 h 2879294"/>
              <a:gd name="connsiteX48" fmla="*/ 794562 w 2944715"/>
              <a:gd name="connsiteY48" fmla="*/ 2197534 h 2879294"/>
              <a:gd name="connsiteX49" fmla="*/ 632894 w 2944715"/>
              <a:gd name="connsiteY49" fmla="*/ 2359103 h 2879294"/>
              <a:gd name="connsiteX50" fmla="*/ 2310929 w 2944715"/>
              <a:gd name="connsiteY50" fmla="*/ 2359103 h 2879294"/>
              <a:gd name="connsiteX51" fmla="*/ 2149261 w 2944715"/>
              <a:gd name="connsiteY51" fmla="*/ 2197435 h 2879294"/>
              <a:gd name="connsiteX52" fmla="*/ 2310929 w 2944715"/>
              <a:gd name="connsiteY52" fmla="*/ 2035767 h 2879294"/>
              <a:gd name="connsiteX53" fmla="*/ 2472597 w 2944715"/>
              <a:gd name="connsiteY53" fmla="*/ 2197435 h 2879294"/>
              <a:gd name="connsiteX54" fmla="*/ 2472597 w 2944715"/>
              <a:gd name="connsiteY54" fmla="*/ 2197534 h 2879294"/>
              <a:gd name="connsiteX55" fmla="*/ 2472597 w 2944715"/>
              <a:gd name="connsiteY55" fmla="*/ 2197534 h 2879294"/>
              <a:gd name="connsiteX56" fmla="*/ 2310929 w 2944715"/>
              <a:gd name="connsiteY56" fmla="*/ 2359103 h 2879294"/>
              <a:gd name="connsiteX57" fmla="*/ 2310929 w 2944715"/>
              <a:gd name="connsiteY57" fmla="*/ 2359103 h 2879294"/>
              <a:gd name="connsiteX58" fmla="*/ 2554075 w 2944715"/>
              <a:gd name="connsiteY58" fmla="*/ 1662573 h 2879294"/>
              <a:gd name="connsiteX59" fmla="*/ 2382495 w 2944715"/>
              <a:gd name="connsiteY59" fmla="*/ 1833756 h 2879294"/>
              <a:gd name="connsiteX60" fmla="*/ 561030 w 2944715"/>
              <a:gd name="connsiteY60" fmla="*/ 1833756 h 2879294"/>
              <a:gd name="connsiteX61" fmla="*/ 389450 w 2944715"/>
              <a:gd name="connsiteY61" fmla="*/ 1662275 h 2879294"/>
              <a:gd name="connsiteX62" fmla="*/ 389450 w 2944715"/>
              <a:gd name="connsiteY62" fmla="*/ 656386 h 2879294"/>
              <a:gd name="connsiteX63" fmla="*/ 561030 w 2944715"/>
              <a:gd name="connsiteY63" fmla="*/ 484706 h 2879294"/>
              <a:gd name="connsiteX64" fmla="*/ 2381801 w 2944715"/>
              <a:gd name="connsiteY64" fmla="*/ 484706 h 2879294"/>
              <a:gd name="connsiteX65" fmla="*/ 2553382 w 2944715"/>
              <a:gd name="connsiteY65" fmla="*/ 656386 h 2879294"/>
              <a:gd name="connsiteX66" fmla="*/ 2553382 w 2944715"/>
              <a:gd name="connsiteY66" fmla="*/ 1662275 h 287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2944715" h="2879294">
                <a:moveTo>
                  <a:pt x="2808026" y="757688"/>
                </a:moveTo>
                <a:cubicBezTo>
                  <a:pt x="2803556" y="757698"/>
                  <a:pt x="2799115" y="758372"/>
                  <a:pt x="2794843" y="759671"/>
                </a:cubicBezTo>
                <a:lnTo>
                  <a:pt x="2794843" y="404616"/>
                </a:lnTo>
                <a:cubicBezTo>
                  <a:pt x="2794813" y="387937"/>
                  <a:pt x="2792920" y="371312"/>
                  <a:pt x="2789193" y="355055"/>
                </a:cubicBezTo>
                <a:cubicBezTo>
                  <a:pt x="2789490" y="351526"/>
                  <a:pt x="2789490" y="347978"/>
                  <a:pt x="2789193" y="344449"/>
                </a:cubicBezTo>
                <a:cubicBezTo>
                  <a:pt x="2790184" y="154432"/>
                  <a:pt x="2199913" y="0"/>
                  <a:pt x="1471664" y="0"/>
                </a:cubicBezTo>
                <a:cubicBezTo>
                  <a:pt x="743415" y="0"/>
                  <a:pt x="153342" y="154234"/>
                  <a:pt x="153342" y="344151"/>
                </a:cubicBezTo>
                <a:cubicBezTo>
                  <a:pt x="153143" y="347684"/>
                  <a:pt x="153143" y="351225"/>
                  <a:pt x="153342" y="354757"/>
                </a:cubicBezTo>
                <a:cubicBezTo>
                  <a:pt x="149374" y="370983"/>
                  <a:pt x="147311" y="387615"/>
                  <a:pt x="147196" y="404318"/>
                </a:cubicBezTo>
                <a:lnTo>
                  <a:pt x="147196" y="759373"/>
                </a:lnTo>
                <a:cubicBezTo>
                  <a:pt x="142886" y="758075"/>
                  <a:pt x="138414" y="757411"/>
                  <a:pt x="133914" y="757391"/>
                </a:cubicBezTo>
                <a:cubicBezTo>
                  <a:pt x="60564" y="757391"/>
                  <a:pt x="0" y="937198"/>
                  <a:pt x="0" y="1158934"/>
                </a:cubicBezTo>
                <a:cubicBezTo>
                  <a:pt x="0" y="1380670"/>
                  <a:pt x="60564" y="1560774"/>
                  <a:pt x="135401" y="1560774"/>
                </a:cubicBezTo>
                <a:cubicBezTo>
                  <a:pt x="139403" y="1560576"/>
                  <a:pt x="143366" y="1559872"/>
                  <a:pt x="147196" y="1558693"/>
                </a:cubicBezTo>
                <a:lnTo>
                  <a:pt x="147196" y="2362373"/>
                </a:lnTo>
                <a:cubicBezTo>
                  <a:pt x="147196" y="2488288"/>
                  <a:pt x="249267" y="2590354"/>
                  <a:pt x="375177" y="2590354"/>
                </a:cubicBezTo>
                <a:lnTo>
                  <a:pt x="414032" y="2590354"/>
                </a:lnTo>
                <a:lnTo>
                  <a:pt x="414032" y="2729918"/>
                </a:lnTo>
                <a:cubicBezTo>
                  <a:pt x="414304" y="2811922"/>
                  <a:pt x="480713" y="2878333"/>
                  <a:pt x="562715" y="2878601"/>
                </a:cubicBezTo>
                <a:lnTo>
                  <a:pt x="706640" y="2878601"/>
                </a:lnTo>
                <a:cubicBezTo>
                  <a:pt x="788039" y="2877471"/>
                  <a:pt x="853519" y="2811327"/>
                  <a:pt x="853837" y="2729918"/>
                </a:cubicBezTo>
                <a:lnTo>
                  <a:pt x="853837" y="2590552"/>
                </a:lnTo>
                <a:lnTo>
                  <a:pt x="2089887" y="2590552"/>
                </a:lnTo>
                <a:lnTo>
                  <a:pt x="2089887" y="2730116"/>
                </a:lnTo>
                <a:cubicBezTo>
                  <a:pt x="2089610" y="2811852"/>
                  <a:pt x="2155357" y="2878482"/>
                  <a:pt x="2237083" y="2879295"/>
                </a:cubicBezTo>
                <a:lnTo>
                  <a:pt x="2378630" y="2879295"/>
                </a:lnTo>
                <a:cubicBezTo>
                  <a:pt x="2460613" y="2878967"/>
                  <a:pt x="2526985" y="2812595"/>
                  <a:pt x="2527312" y="2730612"/>
                </a:cubicBezTo>
                <a:lnTo>
                  <a:pt x="2527312" y="2590850"/>
                </a:lnTo>
                <a:lnTo>
                  <a:pt x="2566168" y="2590850"/>
                </a:lnTo>
                <a:cubicBezTo>
                  <a:pt x="2692331" y="2591623"/>
                  <a:pt x="2795259" y="2490023"/>
                  <a:pt x="2796131" y="2363861"/>
                </a:cubicBezTo>
                <a:lnTo>
                  <a:pt x="2796131" y="1558990"/>
                </a:lnTo>
                <a:cubicBezTo>
                  <a:pt x="2800413" y="1560279"/>
                  <a:pt x="2804844" y="1560973"/>
                  <a:pt x="2809315" y="1561072"/>
                </a:cubicBezTo>
                <a:cubicBezTo>
                  <a:pt x="2884151" y="1561072"/>
                  <a:pt x="2944715" y="1381165"/>
                  <a:pt x="2944715" y="1159529"/>
                </a:cubicBezTo>
                <a:cubicBezTo>
                  <a:pt x="2944715" y="937892"/>
                  <a:pt x="2882962" y="757688"/>
                  <a:pt x="2808026" y="757688"/>
                </a:cubicBezTo>
                <a:close/>
                <a:moveTo>
                  <a:pt x="967926" y="176834"/>
                </a:moveTo>
                <a:lnTo>
                  <a:pt x="1975401" y="176834"/>
                </a:lnTo>
                <a:cubicBezTo>
                  <a:pt x="2021582" y="175244"/>
                  <a:pt x="2060299" y="211387"/>
                  <a:pt x="2061885" y="257563"/>
                </a:cubicBezTo>
                <a:cubicBezTo>
                  <a:pt x="2063481" y="303740"/>
                  <a:pt x="2027331" y="342462"/>
                  <a:pt x="1981160" y="344052"/>
                </a:cubicBezTo>
                <a:cubicBezTo>
                  <a:pt x="1979237" y="344119"/>
                  <a:pt x="1977324" y="344119"/>
                  <a:pt x="1975401" y="344052"/>
                </a:cubicBezTo>
                <a:lnTo>
                  <a:pt x="967926" y="344052"/>
                </a:lnTo>
                <a:cubicBezTo>
                  <a:pt x="921745" y="345642"/>
                  <a:pt x="883028" y="309498"/>
                  <a:pt x="881442" y="263322"/>
                </a:cubicBezTo>
                <a:cubicBezTo>
                  <a:pt x="879846" y="217146"/>
                  <a:pt x="915996" y="178423"/>
                  <a:pt x="962167" y="176834"/>
                </a:cubicBezTo>
                <a:cubicBezTo>
                  <a:pt x="964090" y="176767"/>
                  <a:pt x="966003" y="176767"/>
                  <a:pt x="967926" y="176834"/>
                </a:cubicBezTo>
                <a:close/>
                <a:moveTo>
                  <a:pt x="632894" y="2359103"/>
                </a:moveTo>
                <a:cubicBezTo>
                  <a:pt x="543607" y="2359103"/>
                  <a:pt x="471226" y="2286724"/>
                  <a:pt x="471226" y="2197435"/>
                </a:cubicBezTo>
                <a:cubicBezTo>
                  <a:pt x="471226" y="2108146"/>
                  <a:pt x="543607" y="2035767"/>
                  <a:pt x="632894" y="2035767"/>
                </a:cubicBezTo>
                <a:cubicBezTo>
                  <a:pt x="722183" y="2035767"/>
                  <a:pt x="794562" y="2108146"/>
                  <a:pt x="794562" y="2197435"/>
                </a:cubicBezTo>
                <a:cubicBezTo>
                  <a:pt x="794562" y="2197464"/>
                  <a:pt x="794562" y="2197504"/>
                  <a:pt x="794562" y="2197534"/>
                </a:cubicBezTo>
                <a:lnTo>
                  <a:pt x="794562" y="2197534"/>
                </a:lnTo>
                <a:cubicBezTo>
                  <a:pt x="794502" y="2286783"/>
                  <a:pt x="722143" y="2359103"/>
                  <a:pt x="632894" y="2359103"/>
                </a:cubicBezTo>
                <a:close/>
                <a:moveTo>
                  <a:pt x="2310929" y="2359103"/>
                </a:moveTo>
                <a:cubicBezTo>
                  <a:pt x="2221640" y="2359103"/>
                  <a:pt x="2149261" y="2286724"/>
                  <a:pt x="2149261" y="2197435"/>
                </a:cubicBezTo>
                <a:cubicBezTo>
                  <a:pt x="2149261" y="2108146"/>
                  <a:pt x="2221640" y="2035767"/>
                  <a:pt x="2310929" y="2035767"/>
                </a:cubicBezTo>
                <a:cubicBezTo>
                  <a:pt x="2400218" y="2035767"/>
                  <a:pt x="2472597" y="2108146"/>
                  <a:pt x="2472597" y="2197435"/>
                </a:cubicBezTo>
                <a:cubicBezTo>
                  <a:pt x="2472597" y="2197464"/>
                  <a:pt x="2472597" y="2197504"/>
                  <a:pt x="2472597" y="2197534"/>
                </a:cubicBezTo>
                <a:lnTo>
                  <a:pt x="2472597" y="2197534"/>
                </a:lnTo>
                <a:cubicBezTo>
                  <a:pt x="2472538" y="2286783"/>
                  <a:pt x="2400179" y="2359103"/>
                  <a:pt x="2310929" y="2359103"/>
                </a:cubicBezTo>
                <a:lnTo>
                  <a:pt x="2310929" y="2359103"/>
                </a:lnTo>
                <a:close/>
                <a:moveTo>
                  <a:pt x="2554075" y="1662573"/>
                </a:moveTo>
                <a:cubicBezTo>
                  <a:pt x="2553530" y="1757046"/>
                  <a:pt x="2476969" y="1833429"/>
                  <a:pt x="2382495" y="1833756"/>
                </a:cubicBezTo>
                <a:lnTo>
                  <a:pt x="561030" y="1833756"/>
                </a:lnTo>
                <a:cubicBezTo>
                  <a:pt x="466443" y="1833429"/>
                  <a:pt x="389831" y="1756857"/>
                  <a:pt x="389450" y="1662275"/>
                </a:cubicBezTo>
                <a:lnTo>
                  <a:pt x="389450" y="656386"/>
                </a:lnTo>
                <a:cubicBezTo>
                  <a:pt x="389776" y="561744"/>
                  <a:pt x="466389" y="485087"/>
                  <a:pt x="561030" y="484706"/>
                </a:cubicBezTo>
                <a:lnTo>
                  <a:pt x="2381801" y="484706"/>
                </a:lnTo>
                <a:cubicBezTo>
                  <a:pt x="2476443" y="485087"/>
                  <a:pt x="2553055" y="561744"/>
                  <a:pt x="2553382" y="656386"/>
                </a:cubicBezTo>
                <a:lnTo>
                  <a:pt x="2553382" y="1662275"/>
                </a:lnTo>
                <a:close/>
              </a:path>
            </a:pathLst>
          </a:custGeom>
          <a:solidFill>
            <a:srgbClr val="FFFFFF"/>
          </a:solidFill>
          <a:ln w="99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06DEE52-90D6-4120-8454-0DC6A1D5402E}"/>
              </a:ext>
            </a:extLst>
          </p:cNvPr>
          <p:cNvSpPr/>
          <p:nvPr/>
        </p:nvSpPr>
        <p:spPr>
          <a:xfrm>
            <a:off x="7201363" y="2450533"/>
            <a:ext cx="200676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Times New Roman" pitchFamily="18" charset="0"/>
              </a:rPr>
              <a:t>&gt;100MW electrolyser projec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398720C-1070-4BE0-B4F1-1E32674C0F7B}"/>
              </a:ext>
            </a:extLst>
          </p:cNvPr>
          <p:cNvSpPr/>
          <p:nvPr/>
        </p:nvSpPr>
        <p:spPr>
          <a:xfrm>
            <a:off x="0" y="6654056"/>
            <a:ext cx="127000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r>
              <a:rPr lang="en-GB" sz="1000">
                <a:solidFill>
                  <a:srgbClr val="000000"/>
                </a:solidFill>
              </a:rPr>
              <a:t>Unrestricted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35" name="Ancor box 2">
            <a:extLst>
              <a:ext uri="{FF2B5EF4-FFF2-40B4-BE49-F238E27FC236}">
                <a16:creationId xmlns:a16="http://schemas.microsoft.com/office/drawing/2014/main" id="{61326E68-51F5-354C-9329-9562AED1329D}"/>
              </a:ext>
            </a:extLst>
          </p:cNvPr>
          <p:cNvSpPr/>
          <p:nvPr/>
        </p:nvSpPr>
        <p:spPr>
          <a:xfrm>
            <a:off x="7745384" y="4016813"/>
            <a:ext cx="128718" cy="397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2" name="Ancor box">
            <a:extLst>
              <a:ext uri="{FF2B5EF4-FFF2-40B4-BE49-F238E27FC236}">
                <a16:creationId xmlns:a16="http://schemas.microsoft.com/office/drawing/2014/main" id="{6EE1F21B-57B6-404B-AA31-970996AB62BE}"/>
              </a:ext>
            </a:extLst>
          </p:cNvPr>
          <p:cNvSpPr/>
          <p:nvPr/>
        </p:nvSpPr>
        <p:spPr>
          <a:xfrm>
            <a:off x="8056933" y="4034059"/>
            <a:ext cx="149771" cy="3829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4" name="Ancor box3">
            <a:extLst>
              <a:ext uri="{FF2B5EF4-FFF2-40B4-BE49-F238E27FC236}">
                <a16:creationId xmlns:a16="http://schemas.microsoft.com/office/drawing/2014/main" id="{46DEF124-13DC-604D-B14E-BE763804851C}"/>
              </a:ext>
            </a:extLst>
          </p:cNvPr>
          <p:cNvSpPr/>
          <p:nvPr/>
        </p:nvSpPr>
        <p:spPr>
          <a:xfrm>
            <a:off x="2139415" y="3038620"/>
            <a:ext cx="153868" cy="2852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0" name="Gas">
            <a:extLst>
              <a:ext uri="{FF2B5EF4-FFF2-40B4-BE49-F238E27FC236}">
                <a16:creationId xmlns:a16="http://schemas.microsoft.com/office/drawing/2014/main" id="{0E023893-473C-4A7C-ACE7-182AE8E761B5}"/>
              </a:ext>
            </a:extLst>
          </p:cNvPr>
          <p:cNvSpPr/>
          <p:nvPr/>
        </p:nvSpPr>
        <p:spPr>
          <a:xfrm>
            <a:off x="5982979" y="3216353"/>
            <a:ext cx="286904" cy="309082"/>
          </a:xfrm>
          <a:custGeom>
            <a:avLst/>
            <a:gdLst>
              <a:gd name="connsiteX0" fmla="*/ 102427 w 1910743"/>
              <a:gd name="connsiteY0" fmla="*/ 1108844 h 1910410"/>
              <a:gd name="connsiteX1" fmla="*/ 16191 w 1910743"/>
              <a:gd name="connsiteY1" fmla="*/ 730198 h 1910410"/>
              <a:gd name="connsiteX2" fmla="*/ 374022 w 1910743"/>
              <a:gd name="connsiteY2" fmla="*/ 857074 h 1910410"/>
              <a:gd name="connsiteX3" fmla="*/ 366092 w 1910743"/>
              <a:gd name="connsiteY3" fmla="*/ 954214 h 1910410"/>
              <a:gd name="connsiteX4" fmla="*/ 374022 w 1910743"/>
              <a:gd name="connsiteY4" fmla="*/ 1051354 h 1910410"/>
              <a:gd name="connsiteX5" fmla="*/ 102427 w 1910743"/>
              <a:gd name="connsiteY5" fmla="*/ 1108844 h 1910410"/>
              <a:gd name="connsiteX6" fmla="*/ 748703 w 1910743"/>
              <a:gd name="connsiteY6" fmla="*/ 403096 h 1910410"/>
              <a:gd name="connsiteX7" fmla="*/ 680308 w 1910743"/>
              <a:gd name="connsiteY7" fmla="*/ 29406 h 1910410"/>
              <a:gd name="connsiteX8" fmla="*/ 395828 w 1910743"/>
              <a:gd name="connsiteY8" fmla="*/ 294062 h 1910410"/>
              <a:gd name="connsiteX9" fmla="*/ 580195 w 1910743"/>
              <a:gd name="connsiteY9" fmla="*/ 501227 h 1910410"/>
              <a:gd name="connsiteX10" fmla="*/ 748703 w 1910743"/>
              <a:gd name="connsiteY10" fmla="*/ 403096 h 1910410"/>
              <a:gd name="connsiteX11" fmla="*/ 402767 w 1910743"/>
              <a:gd name="connsiteY11" fmla="*/ 749032 h 1910410"/>
              <a:gd name="connsiteX12" fmla="*/ 499907 w 1910743"/>
              <a:gd name="connsiteY12" fmla="*/ 580524 h 1910410"/>
              <a:gd name="connsiteX13" fmla="*/ 253093 w 1910743"/>
              <a:gd name="connsiteY13" fmla="*/ 291088 h 1910410"/>
              <a:gd name="connsiteX14" fmla="*/ 139103 w 1910743"/>
              <a:gd name="connsiteY14" fmla="*/ 661804 h 1910410"/>
              <a:gd name="connsiteX15" fmla="*/ 402767 w 1910743"/>
              <a:gd name="connsiteY15" fmla="*/ 749032 h 1910410"/>
              <a:gd name="connsiteX16" fmla="*/ 955868 w 1910743"/>
              <a:gd name="connsiteY16" fmla="*/ 365430 h 1910410"/>
              <a:gd name="connsiteX17" fmla="*/ 1053007 w 1910743"/>
              <a:gd name="connsiteY17" fmla="*/ 373359 h 1910410"/>
              <a:gd name="connsiteX18" fmla="*/ 1179883 w 1910743"/>
              <a:gd name="connsiteY18" fmla="*/ 15529 h 1910410"/>
              <a:gd name="connsiteX19" fmla="*/ 801237 w 1910743"/>
              <a:gd name="connsiteY19" fmla="*/ 101765 h 1910410"/>
              <a:gd name="connsiteX20" fmla="*/ 857737 w 1910743"/>
              <a:gd name="connsiteY20" fmla="*/ 373359 h 1910410"/>
              <a:gd name="connsiteX21" fmla="*/ 955868 w 1910743"/>
              <a:gd name="connsiteY21" fmla="*/ 365430 h 1910410"/>
              <a:gd name="connsiteX22" fmla="*/ 580195 w 1910743"/>
              <a:gd name="connsiteY22" fmla="*/ 1410175 h 1910410"/>
              <a:gd name="connsiteX23" fmla="*/ 290759 w 1910743"/>
              <a:gd name="connsiteY23" fmla="*/ 1656989 h 1910410"/>
              <a:gd name="connsiteX24" fmla="*/ 661475 w 1910743"/>
              <a:gd name="connsiteY24" fmla="*/ 1770979 h 1910410"/>
              <a:gd name="connsiteX25" fmla="*/ 748703 w 1910743"/>
              <a:gd name="connsiteY25" fmla="*/ 1508306 h 1910410"/>
              <a:gd name="connsiteX26" fmla="*/ 580195 w 1910743"/>
              <a:gd name="connsiteY26" fmla="*/ 1410175 h 1910410"/>
              <a:gd name="connsiteX27" fmla="*/ 1330549 w 1910743"/>
              <a:gd name="connsiteY27" fmla="*/ 500235 h 1910410"/>
              <a:gd name="connsiteX28" fmla="*/ 1619985 w 1910743"/>
              <a:gd name="connsiteY28" fmla="*/ 253422 h 1910410"/>
              <a:gd name="connsiteX29" fmla="*/ 1249268 w 1910743"/>
              <a:gd name="connsiteY29" fmla="*/ 139432 h 1910410"/>
              <a:gd name="connsiteX30" fmla="*/ 1162041 w 1910743"/>
              <a:gd name="connsiteY30" fmla="*/ 402105 h 1910410"/>
              <a:gd name="connsiteX31" fmla="*/ 1330549 w 1910743"/>
              <a:gd name="connsiteY31" fmla="*/ 500235 h 1910410"/>
              <a:gd name="connsiteX32" fmla="*/ 500898 w 1910743"/>
              <a:gd name="connsiteY32" fmla="*/ 1330877 h 1910410"/>
              <a:gd name="connsiteX33" fmla="*/ 403758 w 1910743"/>
              <a:gd name="connsiteY33" fmla="*/ 1162370 h 1910410"/>
              <a:gd name="connsiteX34" fmla="*/ 30068 w 1910743"/>
              <a:gd name="connsiteY34" fmla="*/ 1231756 h 1910410"/>
              <a:gd name="connsiteX35" fmla="*/ 294724 w 1910743"/>
              <a:gd name="connsiteY35" fmla="*/ 1516236 h 1910410"/>
              <a:gd name="connsiteX36" fmla="*/ 500898 w 1910743"/>
              <a:gd name="connsiteY36" fmla="*/ 1330877 h 1910410"/>
              <a:gd name="connsiteX37" fmla="*/ 1808316 w 1910743"/>
              <a:gd name="connsiteY37" fmla="*/ 801566 h 1910410"/>
              <a:gd name="connsiteX38" fmla="*/ 1536722 w 1910743"/>
              <a:gd name="connsiteY38" fmla="*/ 858066 h 1910410"/>
              <a:gd name="connsiteX39" fmla="*/ 1544652 w 1910743"/>
              <a:gd name="connsiteY39" fmla="*/ 956196 h 1910410"/>
              <a:gd name="connsiteX40" fmla="*/ 1536722 w 1910743"/>
              <a:gd name="connsiteY40" fmla="*/ 1053336 h 1910410"/>
              <a:gd name="connsiteX41" fmla="*/ 1894552 w 1910743"/>
              <a:gd name="connsiteY41" fmla="*/ 1180212 h 1910410"/>
              <a:gd name="connsiteX42" fmla="*/ 1808316 w 1910743"/>
              <a:gd name="connsiteY42" fmla="*/ 801566 h 1910410"/>
              <a:gd name="connsiteX43" fmla="*/ 1409846 w 1910743"/>
              <a:gd name="connsiteY43" fmla="*/ 580524 h 1910410"/>
              <a:gd name="connsiteX44" fmla="*/ 1507977 w 1910743"/>
              <a:gd name="connsiteY44" fmla="*/ 749032 h 1910410"/>
              <a:gd name="connsiteX45" fmla="*/ 1881667 w 1910743"/>
              <a:gd name="connsiteY45" fmla="*/ 680637 h 1910410"/>
              <a:gd name="connsiteX46" fmla="*/ 1617011 w 1910743"/>
              <a:gd name="connsiteY46" fmla="*/ 396157 h 1910410"/>
              <a:gd name="connsiteX47" fmla="*/ 1409846 w 1910743"/>
              <a:gd name="connsiteY47" fmla="*/ 580524 h 1910410"/>
              <a:gd name="connsiteX48" fmla="*/ 1507977 w 1910743"/>
              <a:gd name="connsiteY48" fmla="*/ 1161379 h 1910410"/>
              <a:gd name="connsiteX49" fmla="*/ 1410837 w 1910743"/>
              <a:gd name="connsiteY49" fmla="*/ 1329886 h 1910410"/>
              <a:gd name="connsiteX50" fmla="*/ 1657651 w 1910743"/>
              <a:gd name="connsiteY50" fmla="*/ 1619322 h 1910410"/>
              <a:gd name="connsiteX51" fmla="*/ 1771641 w 1910743"/>
              <a:gd name="connsiteY51" fmla="*/ 1248606 h 1910410"/>
              <a:gd name="connsiteX52" fmla="*/ 1507977 w 1910743"/>
              <a:gd name="connsiteY52" fmla="*/ 1161379 h 1910410"/>
              <a:gd name="connsiteX53" fmla="*/ 955868 w 1910743"/>
              <a:gd name="connsiteY53" fmla="*/ 1544981 h 1910410"/>
              <a:gd name="connsiteX54" fmla="*/ 858728 w 1910743"/>
              <a:gd name="connsiteY54" fmla="*/ 1537051 h 1910410"/>
              <a:gd name="connsiteX55" fmla="*/ 731852 w 1910743"/>
              <a:gd name="connsiteY55" fmla="*/ 1894881 h 1910410"/>
              <a:gd name="connsiteX56" fmla="*/ 1110498 w 1910743"/>
              <a:gd name="connsiteY56" fmla="*/ 1808645 h 1910410"/>
              <a:gd name="connsiteX57" fmla="*/ 1053998 w 1910743"/>
              <a:gd name="connsiteY57" fmla="*/ 1537051 h 1910410"/>
              <a:gd name="connsiteX58" fmla="*/ 955868 w 1910743"/>
              <a:gd name="connsiteY58" fmla="*/ 1544981 h 1910410"/>
              <a:gd name="connsiteX59" fmla="*/ 1162041 w 1910743"/>
              <a:gd name="connsiteY59" fmla="*/ 1508306 h 1910410"/>
              <a:gd name="connsiteX60" fmla="*/ 1230435 w 1910743"/>
              <a:gd name="connsiteY60" fmla="*/ 1881995 h 1910410"/>
              <a:gd name="connsiteX61" fmla="*/ 1514915 w 1910743"/>
              <a:gd name="connsiteY61" fmla="*/ 1618331 h 1910410"/>
              <a:gd name="connsiteX62" fmla="*/ 1330549 w 1910743"/>
              <a:gd name="connsiteY62" fmla="*/ 1411166 h 1910410"/>
              <a:gd name="connsiteX63" fmla="*/ 1162041 w 1910743"/>
              <a:gd name="connsiteY63" fmla="*/ 1508306 h 1910410"/>
              <a:gd name="connsiteX64" fmla="*/ 1432644 w 1910743"/>
              <a:gd name="connsiteY64" fmla="*/ 955205 h 1910410"/>
              <a:gd name="connsiteX65" fmla="*/ 954876 w 1910743"/>
              <a:gd name="connsiteY65" fmla="*/ 1432973 h 1910410"/>
              <a:gd name="connsiteX66" fmla="*/ 477108 w 1910743"/>
              <a:gd name="connsiteY66" fmla="*/ 955205 h 1910410"/>
              <a:gd name="connsiteX67" fmla="*/ 954876 w 1910743"/>
              <a:gd name="connsiteY67" fmla="*/ 477437 h 1910410"/>
              <a:gd name="connsiteX68" fmla="*/ 1432644 w 1910743"/>
              <a:gd name="connsiteY68" fmla="*/ 955205 h 1910410"/>
              <a:gd name="connsiteX69" fmla="*/ 1067875 w 1910743"/>
              <a:gd name="connsiteY69" fmla="*/ 955205 h 1910410"/>
              <a:gd name="connsiteX70" fmla="*/ 955868 w 1910743"/>
              <a:gd name="connsiteY70" fmla="*/ 843197 h 1910410"/>
              <a:gd name="connsiteX71" fmla="*/ 843860 w 1910743"/>
              <a:gd name="connsiteY71" fmla="*/ 955205 h 1910410"/>
              <a:gd name="connsiteX72" fmla="*/ 955868 w 1910743"/>
              <a:gd name="connsiteY72" fmla="*/ 1067213 h 1910410"/>
              <a:gd name="connsiteX73" fmla="*/ 1067875 w 1910743"/>
              <a:gd name="connsiteY73" fmla="*/ 955205 h 1910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1910743" h="1910410">
                <a:moveTo>
                  <a:pt x="102427" y="1108844"/>
                </a:moveTo>
                <a:cubicBezTo>
                  <a:pt x="-13545" y="969082"/>
                  <a:pt x="-12554" y="838241"/>
                  <a:pt x="16191" y="730198"/>
                </a:cubicBezTo>
                <a:cubicBezTo>
                  <a:pt x="137120" y="785707"/>
                  <a:pt x="263005" y="827338"/>
                  <a:pt x="374022" y="857074"/>
                </a:cubicBezTo>
                <a:cubicBezTo>
                  <a:pt x="369065" y="888793"/>
                  <a:pt x="366092" y="921504"/>
                  <a:pt x="366092" y="954214"/>
                </a:cubicBezTo>
                <a:cubicBezTo>
                  <a:pt x="366092" y="987915"/>
                  <a:pt x="369065" y="1019634"/>
                  <a:pt x="374022" y="1051354"/>
                </a:cubicBezTo>
                <a:cubicBezTo>
                  <a:pt x="290759" y="1075143"/>
                  <a:pt x="197585" y="1095958"/>
                  <a:pt x="102427" y="1108844"/>
                </a:cubicBezTo>
                <a:close/>
                <a:moveTo>
                  <a:pt x="748703" y="403096"/>
                </a:moveTo>
                <a:cubicBezTo>
                  <a:pt x="718966" y="291088"/>
                  <a:pt x="692203" y="162230"/>
                  <a:pt x="680308" y="29406"/>
                </a:cubicBezTo>
                <a:cubicBezTo>
                  <a:pt x="573257" y="59143"/>
                  <a:pt x="459266" y="123572"/>
                  <a:pt x="395828" y="294062"/>
                </a:cubicBezTo>
                <a:cubicBezTo>
                  <a:pt x="455302" y="370386"/>
                  <a:pt x="519731" y="440762"/>
                  <a:pt x="580195" y="501227"/>
                </a:cubicBezTo>
                <a:cubicBezTo>
                  <a:pt x="629756" y="459595"/>
                  <a:pt x="687247" y="425894"/>
                  <a:pt x="748703" y="403096"/>
                </a:cubicBezTo>
                <a:close/>
                <a:moveTo>
                  <a:pt x="402767" y="749032"/>
                </a:moveTo>
                <a:cubicBezTo>
                  <a:pt x="425565" y="687576"/>
                  <a:pt x="459266" y="630085"/>
                  <a:pt x="499907" y="580524"/>
                </a:cubicBezTo>
                <a:cubicBezTo>
                  <a:pt x="418627" y="498253"/>
                  <a:pt x="329417" y="400122"/>
                  <a:pt x="253093" y="291088"/>
                </a:cubicBezTo>
                <a:cubicBezTo>
                  <a:pt x="175778" y="370386"/>
                  <a:pt x="108375" y="482393"/>
                  <a:pt x="139103" y="661804"/>
                </a:cubicBezTo>
                <a:cubicBezTo>
                  <a:pt x="229304" y="698479"/>
                  <a:pt x="320496" y="727225"/>
                  <a:pt x="402767" y="749032"/>
                </a:cubicBezTo>
                <a:close/>
                <a:moveTo>
                  <a:pt x="955868" y="365430"/>
                </a:moveTo>
                <a:cubicBezTo>
                  <a:pt x="988578" y="365430"/>
                  <a:pt x="1021288" y="368403"/>
                  <a:pt x="1053007" y="373359"/>
                </a:cubicBezTo>
                <a:cubicBezTo>
                  <a:pt x="1082744" y="261352"/>
                  <a:pt x="1124375" y="135467"/>
                  <a:pt x="1179883" y="15529"/>
                </a:cubicBezTo>
                <a:cubicBezTo>
                  <a:pt x="1072831" y="-12225"/>
                  <a:pt x="941990" y="-13216"/>
                  <a:pt x="801237" y="101765"/>
                </a:cubicBezTo>
                <a:cubicBezTo>
                  <a:pt x="815114" y="197914"/>
                  <a:pt x="834939" y="290097"/>
                  <a:pt x="857737" y="373359"/>
                </a:cubicBezTo>
                <a:cubicBezTo>
                  <a:pt x="889456" y="368403"/>
                  <a:pt x="922166" y="365430"/>
                  <a:pt x="955868" y="365430"/>
                </a:cubicBezTo>
                <a:close/>
                <a:moveTo>
                  <a:pt x="580195" y="1410175"/>
                </a:moveTo>
                <a:cubicBezTo>
                  <a:pt x="497924" y="1491455"/>
                  <a:pt x="399793" y="1580665"/>
                  <a:pt x="290759" y="1656989"/>
                </a:cubicBezTo>
                <a:cubicBezTo>
                  <a:pt x="370057" y="1734304"/>
                  <a:pt x="482065" y="1801707"/>
                  <a:pt x="661475" y="1770979"/>
                </a:cubicBezTo>
                <a:cubicBezTo>
                  <a:pt x="698150" y="1681769"/>
                  <a:pt x="725905" y="1590577"/>
                  <a:pt x="748703" y="1508306"/>
                </a:cubicBezTo>
                <a:cubicBezTo>
                  <a:pt x="687247" y="1484517"/>
                  <a:pt x="630747" y="1451806"/>
                  <a:pt x="580195" y="1410175"/>
                </a:cubicBezTo>
                <a:close/>
                <a:moveTo>
                  <a:pt x="1330549" y="500235"/>
                </a:moveTo>
                <a:cubicBezTo>
                  <a:pt x="1412820" y="418955"/>
                  <a:pt x="1510950" y="329746"/>
                  <a:pt x="1619985" y="253422"/>
                </a:cubicBezTo>
                <a:cubicBezTo>
                  <a:pt x="1540687" y="176107"/>
                  <a:pt x="1428679" y="108704"/>
                  <a:pt x="1249268" y="139432"/>
                </a:cubicBezTo>
                <a:cubicBezTo>
                  <a:pt x="1212593" y="228641"/>
                  <a:pt x="1184839" y="319834"/>
                  <a:pt x="1162041" y="402105"/>
                </a:cubicBezTo>
                <a:cubicBezTo>
                  <a:pt x="1223497" y="425894"/>
                  <a:pt x="1279996" y="459595"/>
                  <a:pt x="1330549" y="500235"/>
                </a:cubicBezTo>
                <a:close/>
                <a:moveTo>
                  <a:pt x="500898" y="1330877"/>
                </a:moveTo>
                <a:cubicBezTo>
                  <a:pt x="459266" y="1281317"/>
                  <a:pt x="426556" y="1223826"/>
                  <a:pt x="403758" y="1162370"/>
                </a:cubicBezTo>
                <a:cubicBezTo>
                  <a:pt x="291750" y="1192107"/>
                  <a:pt x="161901" y="1219861"/>
                  <a:pt x="30068" y="1231756"/>
                </a:cubicBezTo>
                <a:cubicBezTo>
                  <a:pt x="59805" y="1338807"/>
                  <a:pt x="124234" y="1452798"/>
                  <a:pt x="294724" y="1516236"/>
                </a:cubicBezTo>
                <a:cubicBezTo>
                  <a:pt x="370057" y="1455771"/>
                  <a:pt x="439442" y="1391342"/>
                  <a:pt x="500898" y="1330877"/>
                </a:cubicBezTo>
                <a:close/>
                <a:moveTo>
                  <a:pt x="1808316" y="801566"/>
                </a:moveTo>
                <a:cubicBezTo>
                  <a:pt x="1713159" y="815443"/>
                  <a:pt x="1619985" y="835268"/>
                  <a:pt x="1536722" y="858066"/>
                </a:cubicBezTo>
                <a:cubicBezTo>
                  <a:pt x="1541678" y="889785"/>
                  <a:pt x="1544652" y="922495"/>
                  <a:pt x="1544652" y="956196"/>
                </a:cubicBezTo>
                <a:cubicBezTo>
                  <a:pt x="1544652" y="988907"/>
                  <a:pt x="1541678" y="1021617"/>
                  <a:pt x="1536722" y="1053336"/>
                </a:cubicBezTo>
                <a:cubicBezTo>
                  <a:pt x="1648730" y="1083073"/>
                  <a:pt x="1773623" y="1124704"/>
                  <a:pt x="1894552" y="1180212"/>
                </a:cubicBezTo>
                <a:cubicBezTo>
                  <a:pt x="1923298" y="1073160"/>
                  <a:pt x="1924289" y="941328"/>
                  <a:pt x="1808316" y="801566"/>
                </a:cubicBezTo>
                <a:close/>
                <a:moveTo>
                  <a:pt x="1409846" y="580524"/>
                </a:moveTo>
                <a:cubicBezTo>
                  <a:pt x="1451477" y="630085"/>
                  <a:pt x="1484188" y="687576"/>
                  <a:pt x="1507977" y="749032"/>
                </a:cubicBezTo>
                <a:cubicBezTo>
                  <a:pt x="1619985" y="719295"/>
                  <a:pt x="1748843" y="692532"/>
                  <a:pt x="1881667" y="680637"/>
                </a:cubicBezTo>
                <a:cubicBezTo>
                  <a:pt x="1851930" y="573586"/>
                  <a:pt x="1787501" y="459595"/>
                  <a:pt x="1617011" y="396157"/>
                </a:cubicBezTo>
                <a:cubicBezTo>
                  <a:pt x="1540687" y="455631"/>
                  <a:pt x="1471302" y="520060"/>
                  <a:pt x="1409846" y="580524"/>
                </a:cubicBezTo>
                <a:close/>
                <a:moveTo>
                  <a:pt x="1507977" y="1161379"/>
                </a:moveTo>
                <a:cubicBezTo>
                  <a:pt x="1485179" y="1222834"/>
                  <a:pt x="1451477" y="1280325"/>
                  <a:pt x="1410837" y="1329886"/>
                </a:cubicBezTo>
                <a:cubicBezTo>
                  <a:pt x="1492117" y="1412157"/>
                  <a:pt x="1581327" y="1510288"/>
                  <a:pt x="1657651" y="1619322"/>
                </a:cubicBezTo>
                <a:cubicBezTo>
                  <a:pt x="1734966" y="1540025"/>
                  <a:pt x="1802369" y="1428017"/>
                  <a:pt x="1771641" y="1248606"/>
                </a:cubicBezTo>
                <a:cubicBezTo>
                  <a:pt x="1681440" y="1212922"/>
                  <a:pt x="1591239" y="1184177"/>
                  <a:pt x="1507977" y="1161379"/>
                </a:cubicBezTo>
                <a:close/>
                <a:moveTo>
                  <a:pt x="955868" y="1544981"/>
                </a:moveTo>
                <a:cubicBezTo>
                  <a:pt x="922166" y="1544981"/>
                  <a:pt x="890447" y="1542007"/>
                  <a:pt x="858728" y="1537051"/>
                </a:cubicBezTo>
                <a:cubicBezTo>
                  <a:pt x="828991" y="1649059"/>
                  <a:pt x="787360" y="1774944"/>
                  <a:pt x="731852" y="1894881"/>
                </a:cubicBezTo>
                <a:cubicBezTo>
                  <a:pt x="838904" y="1922636"/>
                  <a:pt x="969745" y="1923627"/>
                  <a:pt x="1110498" y="1808645"/>
                </a:cubicBezTo>
                <a:cubicBezTo>
                  <a:pt x="1096621" y="1713488"/>
                  <a:pt x="1076796" y="1620314"/>
                  <a:pt x="1053998" y="1537051"/>
                </a:cubicBezTo>
                <a:cubicBezTo>
                  <a:pt x="1021288" y="1542007"/>
                  <a:pt x="988578" y="1544981"/>
                  <a:pt x="955868" y="1544981"/>
                </a:cubicBezTo>
                <a:close/>
                <a:moveTo>
                  <a:pt x="1162041" y="1508306"/>
                </a:moveTo>
                <a:cubicBezTo>
                  <a:pt x="1191778" y="1620314"/>
                  <a:pt x="1218541" y="1749172"/>
                  <a:pt x="1230435" y="1881995"/>
                </a:cubicBezTo>
                <a:cubicBezTo>
                  <a:pt x="1337487" y="1852259"/>
                  <a:pt x="1451477" y="1787830"/>
                  <a:pt x="1514915" y="1618331"/>
                </a:cubicBezTo>
                <a:cubicBezTo>
                  <a:pt x="1455442" y="1542007"/>
                  <a:pt x="1391013" y="1471631"/>
                  <a:pt x="1330549" y="1411166"/>
                </a:cubicBezTo>
                <a:cubicBezTo>
                  <a:pt x="1280988" y="1451806"/>
                  <a:pt x="1223497" y="1484517"/>
                  <a:pt x="1162041" y="1508306"/>
                </a:cubicBezTo>
                <a:close/>
                <a:moveTo>
                  <a:pt x="1432644" y="955205"/>
                </a:moveTo>
                <a:cubicBezTo>
                  <a:pt x="1432644" y="1218870"/>
                  <a:pt x="1218541" y="1432973"/>
                  <a:pt x="954876" y="1432973"/>
                </a:cubicBezTo>
                <a:cubicBezTo>
                  <a:pt x="691212" y="1432973"/>
                  <a:pt x="477108" y="1218870"/>
                  <a:pt x="477108" y="955205"/>
                </a:cubicBezTo>
                <a:cubicBezTo>
                  <a:pt x="477108" y="691541"/>
                  <a:pt x="691212" y="477437"/>
                  <a:pt x="954876" y="477437"/>
                </a:cubicBezTo>
                <a:cubicBezTo>
                  <a:pt x="1218541" y="477437"/>
                  <a:pt x="1432644" y="692532"/>
                  <a:pt x="1432644" y="955205"/>
                </a:cubicBezTo>
                <a:close/>
                <a:moveTo>
                  <a:pt x="1067875" y="955205"/>
                </a:moveTo>
                <a:cubicBezTo>
                  <a:pt x="1067875" y="892758"/>
                  <a:pt x="1017323" y="843197"/>
                  <a:pt x="955868" y="843197"/>
                </a:cubicBezTo>
                <a:cubicBezTo>
                  <a:pt x="893421" y="843197"/>
                  <a:pt x="843860" y="893750"/>
                  <a:pt x="843860" y="955205"/>
                </a:cubicBezTo>
                <a:cubicBezTo>
                  <a:pt x="843860" y="1017652"/>
                  <a:pt x="894412" y="1067213"/>
                  <a:pt x="955868" y="1067213"/>
                </a:cubicBezTo>
                <a:cubicBezTo>
                  <a:pt x="1017323" y="1068204"/>
                  <a:pt x="1067875" y="1017652"/>
                  <a:pt x="1067875" y="955205"/>
                </a:cubicBezTo>
                <a:close/>
              </a:path>
            </a:pathLst>
          </a:custGeom>
          <a:solidFill>
            <a:schemeClr val="tx1"/>
          </a:solidFill>
          <a:ln w="991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1st 100% ">
            <a:extLst>
              <a:ext uri="{FF2B5EF4-FFF2-40B4-BE49-F238E27FC236}">
                <a16:creationId xmlns:a16="http://schemas.microsoft.com/office/drawing/2014/main" id="{B000AEC7-84F8-4FA7-B5A9-39C9E7411B49}"/>
              </a:ext>
            </a:extLst>
          </p:cNvPr>
          <p:cNvSpPr/>
          <p:nvPr/>
        </p:nvSpPr>
        <p:spPr>
          <a:xfrm>
            <a:off x="5997994" y="3947527"/>
            <a:ext cx="763005" cy="3526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100% H</a:t>
            </a:r>
            <a:r>
              <a:rPr kumimoji="0" lang="en-GB" sz="800" b="0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as turbines</a:t>
            </a:r>
          </a:p>
        </p:txBody>
      </p:sp>
    </p:spTree>
    <p:extLst>
      <p:ext uri="{BB962C8B-B14F-4D97-AF65-F5344CB8AC3E}">
        <p14:creationId xmlns:p14="http://schemas.microsoft.com/office/powerpoint/2010/main" val="7170954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C0A38-5D92-4BCC-A26B-5E87A5714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reduction for hydrogen from electrolyser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E1DE13-A2A8-4D49-AF1D-75FA7CEF7B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063" y="1414800"/>
            <a:ext cx="5348224" cy="4752975"/>
          </a:xfrm>
        </p:spPr>
        <p:txBody>
          <a:bodyPr/>
          <a:lstStyle/>
          <a:p>
            <a:r>
              <a:rPr lang="en-GB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Modern ‘PEM*’ electrolysers are a new industry with significant scope for cost re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Research on PEM began in 1970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First commercial product at &gt;1MW scale 201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Until recently every unit was ‘hand-built’</a:t>
            </a:r>
          </a:p>
          <a:p>
            <a:endParaRPr lang="en-GB" sz="1600" dirty="0"/>
          </a:p>
          <a:p>
            <a:pPr algn="ctr"/>
            <a:r>
              <a:rPr lang="en-GB" sz="1600" i="1" dirty="0"/>
              <a:t>This industry has just reached the </a:t>
            </a:r>
            <a:br>
              <a:rPr lang="en-GB" sz="1600" i="1" dirty="0"/>
            </a:br>
            <a:r>
              <a:rPr lang="en-GB" sz="1600" i="1" dirty="0"/>
              <a:t>‘model T Ford stage’</a:t>
            </a:r>
          </a:p>
          <a:p>
            <a:pPr algn="ctr"/>
            <a:endParaRPr lang="en-GB" sz="1600" dirty="0"/>
          </a:p>
          <a:p>
            <a:r>
              <a:rPr lang="en-GB" sz="1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Cost reduction is a function of deploy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Evidence from many technologies including solar PV, batteries and wind power shows that system costs fall as a function of deployment.  (Not time or R&amp;D spen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All the same factors apply to hydrogen from electro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r>
              <a:rPr lang="en-GB" sz="900" dirty="0"/>
              <a:t>*PEM = Proton exchange membrane – a special electrolyte ‘sieve’ which allows hydrogen atoms</a:t>
            </a:r>
            <a:br>
              <a:rPr lang="en-GB" sz="900" dirty="0"/>
            </a:br>
            <a:r>
              <a:rPr lang="en-GB" sz="900" dirty="0"/>
              <a:t>             to pass through but not oxygen or wa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47214B0-599A-41A9-94AC-73A714A18230}"/>
              </a:ext>
            </a:extLst>
          </p:cNvPr>
          <p:cNvGraphicFramePr>
            <a:graphicFrameLocks noGrp="1"/>
          </p:cNvGraphicFramePr>
          <p:nvPr/>
        </p:nvGraphicFramePr>
        <p:xfrm>
          <a:off x="6348028" y="1440000"/>
          <a:ext cx="5428803" cy="47520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48172">
                  <a:extLst>
                    <a:ext uri="{9D8B030D-6E8A-4147-A177-3AD203B41FA5}">
                      <a16:colId xmlns:a16="http://schemas.microsoft.com/office/drawing/2014/main" val="2202945424"/>
                    </a:ext>
                  </a:extLst>
                </a:gridCol>
                <a:gridCol w="3880631">
                  <a:extLst>
                    <a:ext uri="{9D8B030D-6E8A-4147-A177-3AD203B41FA5}">
                      <a16:colId xmlns:a16="http://schemas.microsoft.com/office/drawing/2014/main" val="2970367026"/>
                    </a:ext>
                  </a:extLst>
                </a:gridCol>
              </a:tblGrid>
              <a:tr h="101884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Cost Driver</a:t>
                      </a:r>
                      <a:br>
                        <a:rPr lang="en-GB" sz="1400" dirty="0">
                          <a:effectLst/>
                        </a:rPr>
                      </a:br>
                      <a:r>
                        <a:rPr lang="en-GB" sz="1400" dirty="0">
                          <a:effectLst/>
                        </a:rPr>
                        <a:t>(in order of impact)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How this reduces with deployment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4991393"/>
                  </a:ext>
                </a:extLst>
              </a:tr>
              <a:tr h="673433"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>
                          <a:effectLst/>
                        </a:rPr>
                        <a:t>Cost of electricity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>
                          <a:effectLst/>
                        </a:rPr>
                        <a:t>Renewable energy costs are reducing with their own deployment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53017086"/>
                  </a:ext>
                </a:extLst>
              </a:tr>
              <a:tr h="673433"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>
                          <a:effectLst/>
                        </a:rPr>
                        <a:t>Cost of finance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As experience is gained investors will reduce the risk premium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825642"/>
                  </a:ext>
                </a:extLst>
              </a:tr>
              <a:tr h="694011"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>
                          <a:effectLst/>
                        </a:rPr>
                        <a:t>Cost of electrolyser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Technology improvement,  Factory production methods,  Economies of scal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20870612"/>
                  </a:ext>
                </a:extLst>
              </a:tr>
              <a:tr h="673433"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>
                          <a:effectLst/>
                        </a:rPr>
                        <a:t>Cost of installation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>
                          <a:effectLst/>
                        </a:rPr>
                        <a:t>Learning by doing</a:t>
                      </a:r>
                      <a:endParaRPr lang="en-GB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734552739"/>
                  </a:ext>
                </a:extLst>
              </a:tr>
              <a:tr h="1018845"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Cost of compression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New electrolyser designs that work at pressure.  (it’s much easier to pressurise liquid water than gaseous hydrogen)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218557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469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0155C3D-BEC3-4E84-8D19-0A409190F9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0155C3D-BEC3-4E84-8D19-0A409190F9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828E1D1-B96F-476F-8FD5-0AD286E4A4F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dirty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7037A7-693F-41A9-AB51-201C1CFF6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drogen economy </a:t>
            </a:r>
            <a:br>
              <a:rPr lang="en-US" dirty="0"/>
            </a:br>
            <a:r>
              <a:rPr lang="en-US" b="0" dirty="0"/>
              <a:t>More than just </a:t>
            </a:r>
            <a:r>
              <a:rPr lang="en-US" b="0" dirty="0" err="1"/>
              <a:t>electrolyzers</a:t>
            </a:r>
            <a:r>
              <a:rPr lang="en-US" b="0" dirty="0"/>
              <a:t> and ATRs</a:t>
            </a:r>
          </a:p>
        </p:txBody>
      </p:sp>
      <p:pic>
        <p:nvPicPr>
          <p:cNvPr id="49" name="Grafik 48">
            <a:extLst>
              <a:ext uri="{FF2B5EF4-FFF2-40B4-BE49-F238E27FC236}">
                <a16:creationId xmlns:a16="http://schemas.microsoft.com/office/drawing/2014/main" id="{4785E31E-A397-4030-9342-BF77746007B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1143" y="2579637"/>
            <a:ext cx="4318703" cy="2859682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30EC43A-85BA-4715-8C60-DFBA59D51175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7625" y="2934898"/>
            <a:ext cx="2290082" cy="154171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5CCCCD6-8F41-4BB3-9456-9F6662780682}"/>
              </a:ext>
            </a:extLst>
          </p:cNvPr>
          <p:cNvSpPr txBox="1"/>
          <p:nvPr/>
        </p:nvSpPr>
        <p:spPr>
          <a:xfrm>
            <a:off x="8746792" y="4374410"/>
            <a:ext cx="143931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frastructure/</a:t>
            </a:r>
          </a:p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ogistics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F5E780D9-17D0-476C-97C3-DC265DAD129A}"/>
              </a:ext>
            </a:extLst>
          </p:cNvPr>
          <p:cNvCxnSpPr/>
          <p:nvPr/>
        </p:nvCxnSpPr>
        <p:spPr bwMode="auto">
          <a:xfrm>
            <a:off x="8678513" y="4090842"/>
            <a:ext cx="0" cy="92939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CB6A6DE4-B72E-4E95-B59C-9FEABFC283F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9252" y="4863829"/>
            <a:ext cx="4563890" cy="1323622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CC6DE8E-4845-4FAC-8850-168DA69A38E7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0972" y="1525053"/>
            <a:ext cx="3380458" cy="1861392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C55C6AE5-07BF-4B0D-AFFB-88EC9E17041D}"/>
              </a:ext>
            </a:extLst>
          </p:cNvPr>
          <p:cNvSpPr txBox="1"/>
          <p:nvPr/>
        </p:nvSpPr>
        <p:spPr>
          <a:xfrm>
            <a:off x="3179941" y="1792520"/>
            <a:ext cx="13084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High Voltage Transformer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D96FB7D-CB9E-47BA-846A-DC38EA84C442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1304" y="1602427"/>
            <a:ext cx="2432042" cy="1823259"/>
          </a:xfrm>
          <a:prstGeom prst="rect">
            <a:avLst/>
          </a:prstGeom>
        </p:spPr>
      </p:pic>
      <p:sp>
        <p:nvSpPr>
          <p:cNvPr id="18" name="Pfeil: nach unten 17">
            <a:extLst>
              <a:ext uri="{FF2B5EF4-FFF2-40B4-BE49-F238E27FC236}">
                <a16:creationId xmlns:a16="http://schemas.microsoft.com/office/drawing/2014/main" id="{660F4172-6EAD-4BCE-B8BF-F6521360D139}"/>
              </a:ext>
            </a:extLst>
          </p:cNvPr>
          <p:cNvSpPr/>
          <p:nvPr/>
        </p:nvSpPr>
        <p:spPr bwMode="gray">
          <a:xfrm rot="14624830">
            <a:off x="1616534" y="2770655"/>
            <a:ext cx="221036" cy="423656"/>
          </a:xfrm>
          <a:prstGeom prst="downArrow">
            <a:avLst>
              <a:gd name="adj1" fmla="val 57560"/>
              <a:gd name="adj2" fmla="val 59450"/>
            </a:avLst>
          </a:prstGeom>
          <a:gradFill flip="none" rotWithShape="1">
            <a:gsLst>
              <a:gs pos="100000">
                <a:srgbClr val="9283B4">
                  <a:alpha val="0"/>
                </a:srgbClr>
              </a:gs>
              <a:gs pos="0">
                <a:srgbClr val="9283B4"/>
              </a:gs>
            </a:gsLst>
            <a:lin ang="16200000" scaled="1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1200" b="1" dirty="0">
              <a:solidFill>
                <a:srgbClr val="3C464B"/>
              </a:solidFill>
              <a:ea typeface="Arial Unicode M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C0557B4-2F96-4326-AF0B-2852703AC608}"/>
              </a:ext>
            </a:extLst>
          </p:cNvPr>
          <p:cNvSpPr txBox="1"/>
          <p:nvPr/>
        </p:nvSpPr>
        <p:spPr>
          <a:xfrm>
            <a:off x="7178399" y="4667129"/>
            <a:ext cx="96120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mpression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0A322AB-EEDF-4D9A-B57C-51C28EE8FF58}"/>
              </a:ext>
            </a:extLst>
          </p:cNvPr>
          <p:cNvSpPr txBox="1"/>
          <p:nvPr/>
        </p:nvSpPr>
        <p:spPr>
          <a:xfrm>
            <a:off x="1716169" y="3386445"/>
            <a:ext cx="143931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edium Voltage Transformer</a:t>
            </a:r>
          </a:p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nd Rectifier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CE9C1813-CB7C-4317-B458-35E6A135EEF5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307" y="2706192"/>
            <a:ext cx="1205574" cy="958614"/>
          </a:xfrm>
          <a:prstGeom prst="rect">
            <a:avLst/>
          </a:prstGeom>
        </p:spPr>
      </p:pic>
      <p:sp>
        <p:nvSpPr>
          <p:cNvPr id="31" name="Pfeil: nach unten 30">
            <a:extLst>
              <a:ext uri="{FF2B5EF4-FFF2-40B4-BE49-F238E27FC236}">
                <a16:creationId xmlns:a16="http://schemas.microsoft.com/office/drawing/2014/main" id="{002C392C-6AF1-4078-94B8-36E50173464D}"/>
              </a:ext>
            </a:extLst>
          </p:cNvPr>
          <p:cNvSpPr/>
          <p:nvPr/>
        </p:nvSpPr>
        <p:spPr bwMode="gray">
          <a:xfrm rot="17698907">
            <a:off x="3446608" y="3380619"/>
            <a:ext cx="182275" cy="347032"/>
          </a:xfrm>
          <a:prstGeom prst="downArrow">
            <a:avLst>
              <a:gd name="adj1" fmla="val 58000"/>
              <a:gd name="adj2" fmla="val 59588"/>
            </a:avLst>
          </a:prstGeom>
          <a:gradFill flip="none" rotWithShape="1">
            <a:gsLst>
              <a:gs pos="100000">
                <a:srgbClr val="9283B4">
                  <a:alpha val="0"/>
                </a:srgbClr>
              </a:gs>
              <a:gs pos="0">
                <a:srgbClr val="9283B4"/>
              </a:gs>
            </a:gsLst>
            <a:lin ang="16200000" scaled="1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1200" b="1" dirty="0">
              <a:solidFill>
                <a:srgbClr val="3C464B"/>
              </a:solidFill>
              <a:ea typeface="Arial Unicode MS"/>
            </a:endParaRPr>
          </a:p>
        </p:txBody>
      </p:sp>
      <p:sp>
        <p:nvSpPr>
          <p:cNvPr id="32" name="Pfeil: nach unten 31">
            <a:extLst>
              <a:ext uri="{FF2B5EF4-FFF2-40B4-BE49-F238E27FC236}">
                <a16:creationId xmlns:a16="http://schemas.microsoft.com/office/drawing/2014/main" id="{B37D6344-4875-43C8-A28C-8F7B9C53DCA9}"/>
              </a:ext>
            </a:extLst>
          </p:cNvPr>
          <p:cNvSpPr/>
          <p:nvPr/>
        </p:nvSpPr>
        <p:spPr bwMode="gray">
          <a:xfrm rot="17698907">
            <a:off x="2686196" y="2970195"/>
            <a:ext cx="182275" cy="347032"/>
          </a:xfrm>
          <a:prstGeom prst="downArrow">
            <a:avLst>
              <a:gd name="adj1" fmla="val 58000"/>
              <a:gd name="adj2" fmla="val 59588"/>
            </a:avLst>
          </a:prstGeom>
          <a:gradFill flip="none" rotWithShape="1">
            <a:gsLst>
              <a:gs pos="100000">
                <a:srgbClr val="9283B4">
                  <a:alpha val="0"/>
                </a:srgbClr>
              </a:gs>
              <a:gs pos="0">
                <a:srgbClr val="9283B4"/>
              </a:gs>
            </a:gsLst>
            <a:lin ang="16200000" scaled="1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1200" b="1" dirty="0">
              <a:solidFill>
                <a:srgbClr val="3C464B"/>
              </a:solidFill>
              <a:ea typeface="Arial Unicode MS"/>
            </a:endParaRP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B88A0BAA-2A29-409E-8170-6589551729E8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8151" y="4095258"/>
            <a:ext cx="1568220" cy="1164473"/>
          </a:xfrm>
          <a:prstGeom prst="rect">
            <a:avLst/>
          </a:prstGeom>
        </p:spPr>
      </p:pic>
      <p:sp>
        <p:nvSpPr>
          <p:cNvPr id="35" name="Textfeld 34">
            <a:extLst>
              <a:ext uri="{FF2B5EF4-FFF2-40B4-BE49-F238E27FC236}">
                <a16:creationId xmlns:a16="http://schemas.microsoft.com/office/drawing/2014/main" id="{EC71A18C-E15E-4089-943C-8D2B00CE5FC2}"/>
              </a:ext>
            </a:extLst>
          </p:cNvPr>
          <p:cNvSpPr txBox="1"/>
          <p:nvPr/>
        </p:nvSpPr>
        <p:spPr>
          <a:xfrm>
            <a:off x="5674428" y="5027631"/>
            <a:ext cx="1327797" cy="3621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as purification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19DC2A66-143F-4BFD-8DCB-2884343EF6C0}"/>
              </a:ext>
            </a:extLst>
          </p:cNvPr>
          <p:cNvSpPr txBox="1"/>
          <p:nvPr/>
        </p:nvSpPr>
        <p:spPr>
          <a:xfrm>
            <a:off x="3029522" y="5163236"/>
            <a:ext cx="14393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Water treatment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532C4B3E-D62C-4240-B2CA-4F9FBF66339B}"/>
              </a:ext>
            </a:extLst>
          </p:cNvPr>
          <p:cNvSpPr txBox="1"/>
          <p:nvPr/>
        </p:nvSpPr>
        <p:spPr>
          <a:xfrm>
            <a:off x="4355285" y="5439319"/>
            <a:ext cx="14393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ivil Work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44062F92-C1DB-456E-9A84-61CC46D8EBED}"/>
              </a:ext>
            </a:extLst>
          </p:cNvPr>
          <p:cNvSpPr txBox="1"/>
          <p:nvPr/>
        </p:nvSpPr>
        <p:spPr>
          <a:xfrm>
            <a:off x="4710755" y="2842580"/>
            <a:ext cx="14393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oling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F256131E-7D1F-4BF3-85DB-A89A4A918A65}"/>
              </a:ext>
            </a:extLst>
          </p:cNvPr>
          <p:cNvSpPr txBox="1"/>
          <p:nvPr/>
        </p:nvSpPr>
        <p:spPr>
          <a:xfrm>
            <a:off x="6046186" y="3662816"/>
            <a:ext cx="143931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Control </a:t>
            </a:r>
            <a:b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ystem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D667444-968D-451E-A2A4-1F36930D249A}"/>
              </a:ext>
            </a:extLst>
          </p:cNvPr>
          <p:cNvSpPr txBox="1"/>
          <p:nvPr/>
        </p:nvSpPr>
        <p:spPr>
          <a:xfrm>
            <a:off x="6523452" y="2238809"/>
            <a:ext cx="550448" cy="2169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torag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CB5D99B6-5F01-4311-8251-F6897F0D4D23}"/>
              </a:ext>
            </a:extLst>
          </p:cNvPr>
          <p:cNvSpPr txBox="1"/>
          <p:nvPr/>
        </p:nvSpPr>
        <p:spPr>
          <a:xfrm rot="21049461">
            <a:off x="3308488" y="4021121"/>
            <a:ext cx="548027" cy="1836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uffer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6F641400-7438-4A55-BF9E-8B767D092BD7}"/>
              </a:ext>
            </a:extLst>
          </p:cNvPr>
          <p:cNvSpPr txBox="1"/>
          <p:nvPr/>
        </p:nvSpPr>
        <p:spPr>
          <a:xfrm rot="20948328">
            <a:off x="4646881" y="4142230"/>
            <a:ext cx="1327796" cy="3621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Electrolyzer</a:t>
            </a:r>
          </a:p>
        </p:txBody>
      </p:sp>
      <p:sp>
        <p:nvSpPr>
          <p:cNvPr id="76" name="Freihandform: Form 75">
            <a:extLst>
              <a:ext uri="{FF2B5EF4-FFF2-40B4-BE49-F238E27FC236}">
                <a16:creationId xmlns:a16="http://schemas.microsoft.com/office/drawing/2014/main" id="{64C132BB-3F3C-4F69-BB27-1A05B3B6AB39}"/>
              </a:ext>
            </a:extLst>
          </p:cNvPr>
          <p:cNvSpPr/>
          <p:nvPr/>
        </p:nvSpPr>
        <p:spPr>
          <a:xfrm>
            <a:off x="4201757" y="4280311"/>
            <a:ext cx="2790825" cy="739927"/>
          </a:xfrm>
          <a:custGeom>
            <a:avLst/>
            <a:gdLst>
              <a:gd name="connsiteX0" fmla="*/ 1736725 w 2790825"/>
              <a:gd name="connsiteY0" fmla="*/ 0 h 1193800"/>
              <a:gd name="connsiteX1" fmla="*/ 2105025 w 2790825"/>
              <a:gd name="connsiteY1" fmla="*/ 307975 h 1193800"/>
              <a:gd name="connsiteX2" fmla="*/ 2628900 w 2790825"/>
              <a:gd name="connsiteY2" fmla="*/ 228600 h 1193800"/>
              <a:gd name="connsiteX3" fmla="*/ 2574925 w 2790825"/>
              <a:gd name="connsiteY3" fmla="*/ 171450 h 1193800"/>
              <a:gd name="connsiteX4" fmla="*/ 2790825 w 2790825"/>
              <a:gd name="connsiteY4" fmla="*/ 180975 h 1193800"/>
              <a:gd name="connsiteX5" fmla="*/ 2746375 w 2790825"/>
              <a:gd name="connsiteY5" fmla="*/ 377825 h 1193800"/>
              <a:gd name="connsiteX6" fmla="*/ 2689225 w 2790825"/>
              <a:gd name="connsiteY6" fmla="*/ 314325 h 1193800"/>
              <a:gd name="connsiteX7" fmla="*/ 1016000 w 2790825"/>
              <a:gd name="connsiteY7" fmla="*/ 1193800 h 1193800"/>
              <a:gd name="connsiteX8" fmla="*/ 0 w 2790825"/>
              <a:gd name="connsiteY8" fmla="*/ 355600 h 1193800"/>
              <a:gd name="connsiteX9" fmla="*/ 1736725 w 2790825"/>
              <a:gd name="connsiteY9" fmla="*/ 0 h 1193800"/>
              <a:gd name="connsiteX0" fmla="*/ 1736725 w 2790825"/>
              <a:gd name="connsiteY0" fmla="*/ 0 h 1193800"/>
              <a:gd name="connsiteX1" fmla="*/ 2105025 w 2790825"/>
              <a:gd name="connsiteY1" fmla="*/ 307975 h 1193800"/>
              <a:gd name="connsiteX2" fmla="*/ 2628900 w 2790825"/>
              <a:gd name="connsiteY2" fmla="*/ 228600 h 1193800"/>
              <a:gd name="connsiteX3" fmla="*/ 2574925 w 2790825"/>
              <a:gd name="connsiteY3" fmla="*/ 171450 h 1193800"/>
              <a:gd name="connsiteX4" fmla="*/ 2790825 w 2790825"/>
              <a:gd name="connsiteY4" fmla="*/ 180975 h 1193800"/>
              <a:gd name="connsiteX5" fmla="*/ 2746375 w 2790825"/>
              <a:gd name="connsiteY5" fmla="*/ 377825 h 1193800"/>
              <a:gd name="connsiteX6" fmla="*/ 2689225 w 2790825"/>
              <a:gd name="connsiteY6" fmla="*/ 314325 h 1193800"/>
              <a:gd name="connsiteX7" fmla="*/ 1016000 w 2790825"/>
              <a:gd name="connsiteY7" fmla="*/ 1193800 h 1193800"/>
              <a:gd name="connsiteX8" fmla="*/ 0 w 2790825"/>
              <a:gd name="connsiteY8" fmla="*/ 355600 h 1193800"/>
              <a:gd name="connsiteX9" fmla="*/ 1736725 w 2790825"/>
              <a:gd name="connsiteY9" fmla="*/ 0 h 1193800"/>
              <a:gd name="connsiteX0" fmla="*/ 1736725 w 2790825"/>
              <a:gd name="connsiteY0" fmla="*/ 0 h 1193800"/>
              <a:gd name="connsiteX1" fmla="*/ 2105025 w 2790825"/>
              <a:gd name="connsiteY1" fmla="*/ 307975 h 1193800"/>
              <a:gd name="connsiteX2" fmla="*/ 2628900 w 2790825"/>
              <a:gd name="connsiteY2" fmla="*/ 228600 h 1193800"/>
              <a:gd name="connsiteX3" fmla="*/ 2574925 w 2790825"/>
              <a:gd name="connsiteY3" fmla="*/ 171450 h 1193800"/>
              <a:gd name="connsiteX4" fmla="*/ 2790825 w 2790825"/>
              <a:gd name="connsiteY4" fmla="*/ 180975 h 1193800"/>
              <a:gd name="connsiteX5" fmla="*/ 2746375 w 2790825"/>
              <a:gd name="connsiteY5" fmla="*/ 377825 h 1193800"/>
              <a:gd name="connsiteX6" fmla="*/ 2689225 w 2790825"/>
              <a:gd name="connsiteY6" fmla="*/ 314325 h 1193800"/>
              <a:gd name="connsiteX7" fmla="*/ 1016000 w 2790825"/>
              <a:gd name="connsiteY7" fmla="*/ 1193800 h 1193800"/>
              <a:gd name="connsiteX8" fmla="*/ 0 w 2790825"/>
              <a:gd name="connsiteY8" fmla="*/ 355600 h 1193800"/>
              <a:gd name="connsiteX9" fmla="*/ 1736725 w 2790825"/>
              <a:gd name="connsiteY9" fmla="*/ 0 h 1193800"/>
              <a:gd name="connsiteX0" fmla="*/ 1736725 w 2790825"/>
              <a:gd name="connsiteY0" fmla="*/ 152 h 1193952"/>
              <a:gd name="connsiteX1" fmla="*/ 2105025 w 2790825"/>
              <a:gd name="connsiteY1" fmla="*/ 308127 h 1193952"/>
              <a:gd name="connsiteX2" fmla="*/ 2628900 w 2790825"/>
              <a:gd name="connsiteY2" fmla="*/ 228752 h 1193952"/>
              <a:gd name="connsiteX3" fmla="*/ 2574925 w 2790825"/>
              <a:gd name="connsiteY3" fmla="*/ 171602 h 1193952"/>
              <a:gd name="connsiteX4" fmla="*/ 2790825 w 2790825"/>
              <a:gd name="connsiteY4" fmla="*/ 181127 h 1193952"/>
              <a:gd name="connsiteX5" fmla="*/ 2746375 w 2790825"/>
              <a:gd name="connsiteY5" fmla="*/ 377977 h 1193952"/>
              <a:gd name="connsiteX6" fmla="*/ 2689225 w 2790825"/>
              <a:gd name="connsiteY6" fmla="*/ 314477 h 1193952"/>
              <a:gd name="connsiteX7" fmla="*/ 1016000 w 2790825"/>
              <a:gd name="connsiteY7" fmla="*/ 1193952 h 1193952"/>
              <a:gd name="connsiteX8" fmla="*/ 0 w 2790825"/>
              <a:gd name="connsiteY8" fmla="*/ 355752 h 1193952"/>
              <a:gd name="connsiteX9" fmla="*/ 1736725 w 2790825"/>
              <a:gd name="connsiteY9" fmla="*/ 152 h 1193952"/>
              <a:gd name="connsiteX0" fmla="*/ 1736725 w 2790825"/>
              <a:gd name="connsiteY0" fmla="*/ 0 h 1193800"/>
              <a:gd name="connsiteX1" fmla="*/ 2105025 w 2790825"/>
              <a:gd name="connsiteY1" fmla="*/ 307975 h 1193800"/>
              <a:gd name="connsiteX2" fmla="*/ 2628900 w 2790825"/>
              <a:gd name="connsiteY2" fmla="*/ 228600 h 1193800"/>
              <a:gd name="connsiteX3" fmla="*/ 2574925 w 2790825"/>
              <a:gd name="connsiteY3" fmla="*/ 171450 h 1193800"/>
              <a:gd name="connsiteX4" fmla="*/ 2790825 w 2790825"/>
              <a:gd name="connsiteY4" fmla="*/ 180975 h 1193800"/>
              <a:gd name="connsiteX5" fmla="*/ 2746375 w 2790825"/>
              <a:gd name="connsiteY5" fmla="*/ 377825 h 1193800"/>
              <a:gd name="connsiteX6" fmla="*/ 2689225 w 2790825"/>
              <a:gd name="connsiteY6" fmla="*/ 314325 h 1193800"/>
              <a:gd name="connsiteX7" fmla="*/ 1016000 w 2790825"/>
              <a:gd name="connsiteY7" fmla="*/ 1193800 h 1193800"/>
              <a:gd name="connsiteX8" fmla="*/ 0 w 2790825"/>
              <a:gd name="connsiteY8" fmla="*/ 355600 h 1193800"/>
              <a:gd name="connsiteX9" fmla="*/ 1736725 w 2790825"/>
              <a:gd name="connsiteY9" fmla="*/ 0 h 1193800"/>
              <a:gd name="connsiteX0" fmla="*/ 1750582 w 2804682"/>
              <a:gd name="connsiteY0" fmla="*/ 0 h 1193854"/>
              <a:gd name="connsiteX1" fmla="*/ 2118882 w 2804682"/>
              <a:gd name="connsiteY1" fmla="*/ 307975 h 1193854"/>
              <a:gd name="connsiteX2" fmla="*/ 2642757 w 2804682"/>
              <a:gd name="connsiteY2" fmla="*/ 228600 h 1193854"/>
              <a:gd name="connsiteX3" fmla="*/ 2588782 w 2804682"/>
              <a:gd name="connsiteY3" fmla="*/ 171450 h 1193854"/>
              <a:gd name="connsiteX4" fmla="*/ 2804682 w 2804682"/>
              <a:gd name="connsiteY4" fmla="*/ 180975 h 1193854"/>
              <a:gd name="connsiteX5" fmla="*/ 2760232 w 2804682"/>
              <a:gd name="connsiteY5" fmla="*/ 377825 h 1193854"/>
              <a:gd name="connsiteX6" fmla="*/ 2703082 w 2804682"/>
              <a:gd name="connsiteY6" fmla="*/ 314325 h 1193854"/>
              <a:gd name="connsiteX7" fmla="*/ 1029857 w 2804682"/>
              <a:gd name="connsiteY7" fmla="*/ 1193800 h 1193854"/>
              <a:gd name="connsiteX8" fmla="*/ 13857 w 2804682"/>
              <a:gd name="connsiteY8" fmla="*/ 355600 h 1193854"/>
              <a:gd name="connsiteX9" fmla="*/ 1750582 w 2804682"/>
              <a:gd name="connsiteY9" fmla="*/ 0 h 1193854"/>
              <a:gd name="connsiteX0" fmla="*/ 1750311 w 2804411"/>
              <a:gd name="connsiteY0" fmla="*/ 0 h 1019249"/>
              <a:gd name="connsiteX1" fmla="*/ 2118611 w 2804411"/>
              <a:gd name="connsiteY1" fmla="*/ 307975 h 1019249"/>
              <a:gd name="connsiteX2" fmla="*/ 2642486 w 2804411"/>
              <a:gd name="connsiteY2" fmla="*/ 228600 h 1019249"/>
              <a:gd name="connsiteX3" fmla="*/ 2588511 w 2804411"/>
              <a:gd name="connsiteY3" fmla="*/ 171450 h 1019249"/>
              <a:gd name="connsiteX4" fmla="*/ 2804411 w 2804411"/>
              <a:gd name="connsiteY4" fmla="*/ 180975 h 1019249"/>
              <a:gd name="connsiteX5" fmla="*/ 2759961 w 2804411"/>
              <a:gd name="connsiteY5" fmla="*/ 377825 h 1019249"/>
              <a:gd name="connsiteX6" fmla="*/ 2702811 w 2804411"/>
              <a:gd name="connsiteY6" fmla="*/ 314325 h 1019249"/>
              <a:gd name="connsiteX7" fmla="*/ 1045461 w 2804411"/>
              <a:gd name="connsiteY7" fmla="*/ 1019175 h 1019249"/>
              <a:gd name="connsiteX8" fmla="*/ 13586 w 2804411"/>
              <a:gd name="connsiteY8" fmla="*/ 355600 h 1019249"/>
              <a:gd name="connsiteX9" fmla="*/ 1750311 w 2804411"/>
              <a:gd name="connsiteY9" fmla="*/ 0 h 1019249"/>
              <a:gd name="connsiteX0" fmla="*/ 1750206 w 2804306"/>
              <a:gd name="connsiteY0" fmla="*/ 0 h 885928"/>
              <a:gd name="connsiteX1" fmla="*/ 2118506 w 2804306"/>
              <a:gd name="connsiteY1" fmla="*/ 307975 h 885928"/>
              <a:gd name="connsiteX2" fmla="*/ 2642381 w 2804306"/>
              <a:gd name="connsiteY2" fmla="*/ 228600 h 885928"/>
              <a:gd name="connsiteX3" fmla="*/ 2588406 w 2804306"/>
              <a:gd name="connsiteY3" fmla="*/ 171450 h 885928"/>
              <a:gd name="connsiteX4" fmla="*/ 2804306 w 2804306"/>
              <a:gd name="connsiteY4" fmla="*/ 180975 h 885928"/>
              <a:gd name="connsiteX5" fmla="*/ 2759856 w 2804306"/>
              <a:gd name="connsiteY5" fmla="*/ 377825 h 885928"/>
              <a:gd name="connsiteX6" fmla="*/ 2702706 w 2804306"/>
              <a:gd name="connsiteY6" fmla="*/ 314325 h 885928"/>
              <a:gd name="connsiteX7" fmla="*/ 1051706 w 2804306"/>
              <a:gd name="connsiteY7" fmla="*/ 885825 h 885928"/>
              <a:gd name="connsiteX8" fmla="*/ 13481 w 2804306"/>
              <a:gd name="connsiteY8" fmla="*/ 355600 h 885928"/>
              <a:gd name="connsiteX9" fmla="*/ 1750206 w 2804306"/>
              <a:gd name="connsiteY9" fmla="*/ 0 h 885928"/>
              <a:gd name="connsiteX0" fmla="*/ 1749949 w 2804049"/>
              <a:gd name="connsiteY0" fmla="*/ 0 h 689215"/>
              <a:gd name="connsiteX1" fmla="*/ 2118249 w 2804049"/>
              <a:gd name="connsiteY1" fmla="*/ 307975 h 689215"/>
              <a:gd name="connsiteX2" fmla="*/ 2642124 w 2804049"/>
              <a:gd name="connsiteY2" fmla="*/ 228600 h 689215"/>
              <a:gd name="connsiteX3" fmla="*/ 2588149 w 2804049"/>
              <a:gd name="connsiteY3" fmla="*/ 171450 h 689215"/>
              <a:gd name="connsiteX4" fmla="*/ 2804049 w 2804049"/>
              <a:gd name="connsiteY4" fmla="*/ 180975 h 689215"/>
              <a:gd name="connsiteX5" fmla="*/ 2759599 w 2804049"/>
              <a:gd name="connsiteY5" fmla="*/ 377825 h 689215"/>
              <a:gd name="connsiteX6" fmla="*/ 2702449 w 2804049"/>
              <a:gd name="connsiteY6" fmla="*/ 314325 h 689215"/>
              <a:gd name="connsiteX7" fmla="*/ 1067324 w 2804049"/>
              <a:gd name="connsiteY7" fmla="*/ 688975 h 689215"/>
              <a:gd name="connsiteX8" fmla="*/ 13224 w 2804049"/>
              <a:gd name="connsiteY8" fmla="*/ 355600 h 689215"/>
              <a:gd name="connsiteX9" fmla="*/ 1749949 w 2804049"/>
              <a:gd name="connsiteY9" fmla="*/ 0 h 689215"/>
              <a:gd name="connsiteX0" fmla="*/ 1745615 w 2799715"/>
              <a:gd name="connsiteY0" fmla="*/ 0 h 739954"/>
              <a:gd name="connsiteX1" fmla="*/ 2113915 w 2799715"/>
              <a:gd name="connsiteY1" fmla="*/ 307975 h 739954"/>
              <a:gd name="connsiteX2" fmla="*/ 2637790 w 2799715"/>
              <a:gd name="connsiteY2" fmla="*/ 228600 h 739954"/>
              <a:gd name="connsiteX3" fmla="*/ 2583815 w 2799715"/>
              <a:gd name="connsiteY3" fmla="*/ 171450 h 739954"/>
              <a:gd name="connsiteX4" fmla="*/ 2799715 w 2799715"/>
              <a:gd name="connsiteY4" fmla="*/ 180975 h 739954"/>
              <a:gd name="connsiteX5" fmla="*/ 2755265 w 2799715"/>
              <a:gd name="connsiteY5" fmla="*/ 377825 h 739954"/>
              <a:gd name="connsiteX6" fmla="*/ 2698115 w 2799715"/>
              <a:gd name="connsiteY6" fmla="*/ 314325 h 739954"/>
              <a:gd name="connsiteX7" fmla="*/ 1466215 w 2799715"/>
              <a:gd name="connsiteY7" fmla="*/ 739775 h 739954"/>
              <a:gd name="connsiteX8" fmla="*/ 8890 w 2799715"/>
              <a:gd name="connsiteY8" fmla="*/ 355600 h 739954"/>
              <a:gd name="connsiteX9" fmla="*/ 1745615 w 2799715"/>
              <a:gd name="connsiteY9" fmla="*/ 0 h 739954"/>
              <a:gd name="connsiteX0" fmla="*/ 1745615 w 2799715"/>
              <a:gd name="connsiteY0" fmla="*/ 0 h 739954"/>
              <a:gd name="connsiteX1" fmla="*/ 2113915 w 2799715"/>
              <a:gd name="connsiteY1" fmla="*/ 307975 h 739954"/>
              <a:gd name="connsiteX2" fmla="*/ 2637790 w 2799715"/>
              <a:gd name="connsiteY2" fmla="*/ 228600 h 739954"/>
              <a:gd name="connsiteX3" fmla="*/ 2583815 w 2799715"/>
              <a:gd name="connsiteY3" fmla="*/ 171450 h 739954"/>
              <a:gd name="connsiteX4" fmla="*/ 2799715 w 2799715"/>
              <a:gd name="connsiteY4" fmla="*/ 180975 h 739954"/>
              <a:gd name="connsiteX5" fmla="*/ 2755265 w 2799715"/>
              <a:gd name="connsiteY5" fmla="*/ 377825 h 739954"/>
              <a:gd name="connsiteX6" fmla="*/ 2698115 w 2799715"/>
              <a:gd name="connsiteY6" fmla="*/ 314325 h 739954"/>
              <a:gd name="connsiteX7" fmla="*/ 1466215 w 2799715"/>
              <a:gd name="connsiteY7" fmla="*/ 739775 h 739954"/>
              <a:gd name="connsiteX8" fmla="*/ 8890 w 2799715"/>
              <a:gd name="connsiteY8" fmla="*/ 355600 h 739954"/>
              <a:gd name="connsiteX9" fmla="*/ 1745615 w 2799715"/>
              <a:gd name="connsiteY9" fmla="*/ 0 h 739954"/>
              <a:gd name="connsiteX0" fmla="*/ 1736725 w 2790825"/>
              <a:gd name="connsiteY0" fmla="*/ 0 h 739927"/>
              <a:gd name="connsiteX1" fmla="*/ 2105025 w 2790825"/>
              <a:gd name="connsiteY1" fmla="*/ 307975 h 739927"/>
              <a:gd name="connsiteX2" fmla="*/ 2628900 w 2790825"/>
              <a:gd name="connsiteY2" fmla="*/ 228600 h 739927"/>
              <a:gd name="connsiteX3" fmla="*/ 2574925 w 2790825"/>
              <a:gd name="connsiteY3" fmla="*/ 171450 h 739927"/>
              <a:gd name="connsiteX4" fmla="*/ 2790825 w 2790825"/>
              <a:gd name="connsiteY4" fmla="*/ 180975 h 739927"/>
              <a:gd name="connsiteX5" fmla="*/ 2746375 w 2790825"/>
              <a:gd name="connsiteY5" fmla="*/ 377825 h 739927"/>
              <a:gd name="connsiteX6" fmla="*/ 2689225 w 2790825"/>
              <a:gd name="connsiteY6" fmla="*/ 314325 h 739927"/>
              <a:gd name="connsiteX7" fmla="*/ 1457325 w 2790825"/>
              <a:gd name="connsiteY7" fmla="*/ 739775 h 739927"/>
              <a:gd name="connsiteX8" fmla="*/ 0 w 2790825"/>
              <a:gd name="connsiteY8" fmla="*/ 355600 h 739927"/>
              <a:gd name="connsiteX9" fmla="*/ 1736725 w 2790825"/>
              <a:gd name="connsiteY9" fmla="*/ 0 h 739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90825" h="739927">
                <a:moveTo>
                  <a:pt x="1736725" y="0"/>
                </a:moveTo>
                <a:cubicBezTo>
                  <a:pt x="1920875" y="153987"/>
                  <a:pt x="1851025" y="296333"/>
                  <a:pt x="2105025" y="307975"/>
                </a:cubicBezTo>
                <a:cubicBezTo>
                  <a:pt x="2359025" y="319617"/>
                  <a:pt x="2454275" y="255058"/>
                  <a:pt x="2628900" y="228600"/>
                </a:cubicBezTo>
                <a:lnTo>
                  <a:pt x="2574925" y="171450"/>
                </a:lnTo>
                <a:lnTo>
                  <a:pt x="2790825" y="180975"/>
                </a:lnTo>
                <a:lnTo>
                  <a:pt x="2746375" y="377825"/>
                </a:lnTo>
                <a:lnTo>
                  <a:pt x="2689225" y="314325"/>
                </a:lnTo>
                <a:cubicBezTo>
                  <a:pt x="2400829" y="450321"/>
                  <a:pt x="1905529" y="732896"/>
                  <a:pt x="1457325" y="739775"/>
                </a:cubicBezTo>
                <a:cubicBezTo>
                  <a:pt x="1009121" y="746654"/>
                  <a:pt x="108479" y="519642"/>
                  <a:pt x="0" y="355600"/>
                </a:cubicBezTo>
                <a:lnTo>
                  <a:pt x="1736725" y="0"/>
                </a:lnTo>
                <a:close/>
              </a:path>
            </a:pathLst>
          </a:custGeom>
          <a:solidFill>
            <a:srgbClr val="928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C706B76F-A4C1-4DEC-8D27-6B562934E211}"/>
              </a:ext>
            </a:extLst>
          </p:cNvPr>
          <p:cNvCxnSpPr/>
          <p:nvPr/>
        </p:nvCxnSpPr>
        <p:spPr bwMode="auto">
          <a:xfrm>
            <a:off x="4284003" y="4426312"/>
            <a:ext cx="0" cy="11615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B035B46D-6971-4BC1-884C-6511F3CA5E4E}"/>
              </a:ext>
            </a:extLst>
          </p:cNvPr>
          <p:cNvCxnSpPr/>
          <p:nvPr/>
        </p:nvCxnSpPr>
        <p:spPr bwMode="auto">
          <a:xfrm>
            <a:off x="4199182" y="4156357"/>
            <a:ext cx="0" cy="116150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Freihandform: Form 76">
            <a:extLst>
              <a:ext uri="{FF2B5EF4-FFF2-40B4-BE49-F238E27FC236}">
                <a16:creationId xmlns:a16="http://schemas.microsoft.com/office/drawing/2014/main" id="{D2A3E2B3-F331-40A6-9F85-82B2202F4B08}"/>
              </a:ext>
            </a:extLst>
          </p:cNvPr>
          <p:cNvSpPr/>
          <p:nvPr/>
        </p:nvSpPr>
        <p:spPr>
          <a:xfrm>
            <a:off x="7165181" y="3227206"/>
            <a:ext cx="635797" cy="721518"/>
          </a:xfrm>
          <a:custGeom>
            <a:avLst/>
            <a:gdLst>
              <a:gd name="connsiteX0" fmla="*/ 30957 w 635794"/>
              <a:gd name="connsiteY0" fmla="*/ 0 h 721518"/>
              <a:gd name="connsiteX1" fmla="*/ 0 w 635794"/>
              <a:gd name="connsiteY1" fmla="*/ 290512 h 721518"/>
              <a:gd name="connsiteX2" fmla="*/ 116682 w 635794"/>
              <a:gd name="connsiteY2" fmla="*/ 221456 h 721518"/>
              <a:gd name="connsiteX3" fmla="*/ 338138 w 635794"/>
              <a:gd name="connsiteY3" fmla="*/ 595312 h 721518"/>
              <a:gd name="connsiteX4" fmla="*/ 221457 w 635794"/>
              <a:gd name="connsiteY4" fmla="*/ 654843 h 721518"/>
              <a:gd name="connsiteX5" fmla="*/ 245269 w 635794"/>
              <a:gd name="connsiteY5" fmla="*/ 673893 h 721518"/>
              <a:gd name="connsiteX6" fmla="*/ 240507 w 635794"/>
              <a:gd name="connsiteY6" fmla="*/ 721518 h 721518"/>
              <a:gd name="connsiteX7" fmla="*/ 414338 w 635794"/>
              <a:gd name="connsiteY7" fmla="*/ 681037 h 721518"/>
              <a:gd name="connsiteX8" fmla="*/ 438150 w 635794"/>
              <a:gd name="connsiteY8" fmla="*/ 711993 h 721518"/>
              <a:gd name="connsiteX9" fmla="*/ 635794 w 635794"/>
              <a:gd name="connsiteY9" fmla="*/ 697706 h 721518"/>
              <a:gd name="connsiteX10" fmla="*/ 252413 w 635794"/>
              <a:gd name="connsiteY10" fmla="*/ 164306 h 721518"/>
              <a:gd name="connsiteX11" fmla="*/ 347663 w 635794"/>
              <a:gd name="connsiteY11" fmla="*/ 128587 h 721518"/>
              <a:gd name="connsiteX12" fmla="*/ 30957 w 635794"/>
              <a:gd name="connsiteY12" fmla="*/ 0 h 721518"/>
              <a:gd name="connsiteX0" fmla="*/ 30957 w 635794"/>
              <a:gd name="connsiteY0" fmla="*/ 0 h 721518"/>
              <a:gd name="connsiteX1" fmla="*/ 0 w 635794"/>
              <a:gd name="connsiteY1" fmla="*/ 290512 h 721518"/>
              <a:gd name="connsiteX2" fmla="*/ 116682 w 635794"/>
              <a:gd name="connsiteY2" fmla="*/ 221456 h 721518"/>
              <a:gd name="connsiteX3" fmla="*/ 338138 w 635794"/>
              <a:gd name="connsiteY3" fmla="*/ 595312 h 721518"/>
              <a:gd name="connsiteX4" fmla="*/ 221457 w 635794"/>
              <a:gd name="connsiteY4" fmla="*/ 654843 h 721518"/>
              <a:gd name="connsiteX5" fmla="*/ 245269 w 635794"/>
              <a:gd name="connsiteY5" fmla="*/ 673893 h 721518"/>
              <a:gd name="connsiteX6" fmla="*/ 240507 w 635794"/>
              <a:gd name="connsiteY6" fmla="*/ 721518 h 721518"/>
              <a:gd name="connsiteX7" fmla="*/ 414338 w 635794"/>
              <a:gd name="connsiteY7" fmla="*/ 681037 h 721518"/>
              <a:gd name="connsiteX8" fmla="*/ 438150 w 635794"/>
              <a:gd name="connsiteY8" fmla="*/ 711993 h 721518"/>
              <a:gd name="connsiteX9" fmla="*/ 635794 w 635794"/>
              <a:gd name="connsiteY9" fmla="*/ 697706 h 721518"/>
              <a:gd name="connsiteX10" fmla="*/ 252413 w 635794"/>
              <a:gd name="connsiteY10" fmla="*/ 164306 h 721518"/>
              <a:gd name="connsiteX11" fmla="*/ 347663 w 635794"/>
              <a:gd name="connsiteY11" fmla="*/ 128587 h 721518"/>
              <a:gd name="connsiteX12" fmla="*/ 30957 w 635794"/>
              <a:gd name="connsiteY12" fmla="*/ 0 h 721518"/>
              <a:gd name="connsiteX0" fmla="*/ 30957 w 635794"/>
              <a:gd name="connsiteY0" fmla="*/ 0 h 721518"/>
              <a:gd name="connsiteX1" fmla="*/ 0 w 635794"/>
              <a:gd name="connsiteY1" fmla="*/ 290512 h 721518"/>
              <a:gd name="connsiteX2" fmla="*/ 116682 w 635794"/>
              <a:gd name="connsiteY2" fmla="*/ 221456 h 721518"/>
              <a:gd name="connsiteX3" fmla="*/ 278606 w 635794"/>
              <a:gd name="connsiteY3" fmla="*/ 535781 h 721518"/>
              <a:gd name="connsiteX4" fmla="*/ 221457 w 635794"/>
              <a:gd name="connsiteY4" fmla="*/ 654843 h 721518"/>
              <a:gd name="connsiteX5" fmla="*/ 245269 w 635794"/>
              <a:gd name="connsiteY5" fmla="*/ 673893 h 721518"/>
              <a:gd name="connsiteX6" fmla="*/ 240507 w 635794"/>
              <a:gd name="connsiteY6" fmla="*/ 721518 h 721518"/>
              <a:gd name="connsiteX7" fmla="*/ 414338 w 635794"/>
              <a:gd name="connsiteY7" fmla="*/ 681037 h 721518"/>
              <a:gd name="connsiteX8" fmla="*/ 438150 w 635794"/>
              <a:gd name="connsiteY8" fmla="*/ 711993 h 721518"/>
              <a:gd name="connsiteX9" fmla="*/ 635794 w 635794"/>
              <a:gd name="connsiteY9" fmla="*/ 697706 h 721518"/>
              <a:gd name="connsiteX10" fmla="*/ 252413 w 635794"/>
              <a:gd name="connsiteY10" fmla="*/ 164306 h 721518"/>
              <a:gd name="connsiteX11" fmla="*/ 347663 w 635794"/>
              <a:gd name="connsiteY11" fmla="*/ 128587 h 721518"/>
              <a:gd name="connsiteX12" fmla="*/ 30957 w 635794"/>
              <a:gd name="connsiteY12" fmla="*/ 0 h 721518"/>
              <a:gd name="connsiteX0" fmla="*/ 30957 w 635794"/>
              <a:gd name="connsiteY0" fmla="*/ 0 h 721518"/>
              <a:gd name="connsiteX1" fmla="*/ 0 w 635794"/>
              <a:gd name="connsiteY1" fmla="*/ 290512 h 721518"/>
              <a:gd name="connsiteX2" fmla="*/ 116682 w 635794"/>
              <a:gd name="connsiteY2" fmla="*/ 221456 h 721518"/>
              <a:gd name="connsiteX3" fmla="*/ 278606 w 635794"/>
              <a:gd name="connsiteY3" fmla="*/ 535781 h 721518"/>
              <a:gd name="connsiteX4" fmla="*/ 221457 w 635794"/>
              <a:gd name="connsiteY4" fmla="*/ 654843 h 721518"/>
              <a:gd name="connsiteX5" fmla="*/ 245269 w 635794"/>
              <a:gd name="connsiteY5" fmla="*/ 673893 h 721518"/>
              <a:gd name="connsiteX6" fmla="*/ 240507 w 635794"/>
              <a:gd name="connsiteY6" fmla="*/ 721518 h 721518"/>
              <a:gd name="connsiteX7" fmla="*/ 414338 w 635794"/>
              <a:gd name="connsiteY7" fmla="*/ 681037 h 721518"/>
              <a:gd name="connsiteX8" fmla="*/ 438150 w 635794"/>
              <a:gd name="connsiteY8" fmla="*/ 711993 h 721518"/>
              <a:gd name="connsiteX9" fmla="*/ 635794 w 635794"/>
              <a:gd name="connsiteY9" fmla="*/ 697706 h 721518"/>
              <a:gd name="connsiteX10" fmla="*/ 442913 w 635794"/>
              <a:gd name="connsiteY10" fmla="*/ 371475 h 721518"/>
              <a:gd name="connsiteX11" fmla="*/ 252413 w 635794"/>
              <a:gd name="connsiteY11" fmla="*/ 164306 h 721518"/>
              <a:gd name="connsiteX12" fmla="*/ 347663 w 635794"/>
              <a:gd name="connsiteY12" fmla="*/ 128587 h 721518"/>
              <a:gd name="connsiteX13" fmla="*/ 30957 w 635794"/>
              <a:gd name="connsiteY13" fmla="*/ 0 h 721518"/>
              <a:gd name="connsiteX0" fmla="*/ 30957 w 635797"/>
              <a:gd name="connsiteY0" fmla="*/ 0 h 721518"/>
              <a:gd name="connsiteX1" fmla="*/ 0 w 635797"/>
              <a:gd name="connsiteY1" fmla="*/ 290512 h 721518"/>
              <a:gd name="connsiteX2" fmla="*/ 116682 w 635797"/>
              <a:gd name="connsiteY2" fmla="*/ 221456 h 721518"/>
              <a:gd name="connsiteX3" fmla="*/ 278606 w 635797"/>
              <a:gd name="connsiteY3" fmla="*/ 535781 h 721518"/>
              <a:gd name="connsiteX4" fmla="*/ 221457 w 635797"/>
              <a:gd name="connsiteY4" fmla="*/ 654843 h 721518"/>
              <a:gd name="connsiteX5" fmla="*/ 245269 w 635797"/>
              <a:gd name="connsiteY5" fmla="*/ 673893 h 721518"/>
              <a:gd name="connsiteX6" fmla="*/ 240507 w 635797"/>
              <a:gd name="connsiteY6" fmla="*/ 721518 h 721518"/>
              <a:gd name="connsiteX7" fmla="*/ 414338 w 635797"/>
              <a:gd name="connsiteY7" fmla="*/ 681037 h 721518"/>
              <a:gd name="connsiteX8" fmla="*/ 438150 w 635797"/>
              <a:gd name="connsiteY8" fmla="*/ 711993 h 721518"/>
              <a:gd name="connsiteX9" fmla="*/ 635794 w 635797"/>
              <a:gd name="connsiteY9" fmla="*/ 697706 h 721518"/>
              <a:gd name="connsiteX10" fmla="*/ 442913 w 635797"/>
              <a:gd name="connsiteY10" fmla="*/ 371475 h 721518"/>
              <a:gd name="connsiteX11" fmla="*/ 252413 w 635797"/>
              <a:gd name="connsiteY11" fmla="*/ 164306 h 721518"/>
              <a:gd name="connsiteX12" fmla="*/ 347663 w 635797"/>
              <a:gd name="connsiteY12" fmla="*/ 128587 h 721518"/>
              <a:gd name="connsiteX13" fmla="*/ 30957 w 635797"/>
              <a:gd name="connsiteY13" fmla="*/ 0 h 721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35797" h="721518">
                <a:moveTo>
                  <a:pt x="30957" y="0"/>
                </a:moveTo>
                <a:lnTo>
                  <a:pt x="0" y="290512"/>
                </a:lnTo>
                <a:lnTo>
                  <a:pt x="116682" y="221456"/>
                </a:lnTo>
                <a:cubicBezTo>
                  <a:pt x="173038" y="272256"/>
                  <a:pt x="261144" y="463550"/>
                  <a:pt x="278606" y="535781"/>
                </a:cubicBezTo>
                <a:cubicBezTo>
                  <a:pt x="296068" y="608012"/>
                  <a:pt x="236935" y="641746"/>
                  <a:pt x="221457" y="654843"/>
                </a:cubicBezTo>
                <a:lnTo>
                  <a:pt x="245269" y="673893"/>
                </a:lnTo>
                <a:lnTo>
                  <a:pt x="240507" y="721518"/>
                </a:lnTo>
                <a:lnTo>
                  <a:pt x="414338" y="681037"/>
                </a:lnTo>
                <a:lnTo>
                  <a:pt x="438150" y="711993"/>
                </a:lnTo>
                <a:lnTo>
                  <a:pt x="635794" y="697706"/>
                </a:lnTo>
                <a:cubicBezTo>
                  <a:pt x="636588" y="640953"/>
                  <a:pt x="506413" y="440531"/>
                  <a:pt x="442913" y="371475"/>
                </a:cubicBezTo>
                <a:lnTo>
                  <a:pt x="252413" y="164306"/>
                </a:lnTo>
                <a:lnTo>
                  <a:pt x="347663" y="128587"/>
                </a:lnTo>
                <a:lnTo>
                  <a:pt x="30957" y="0"/>
                </a:lnTo>
                <a:close/>
              </a:path>
            </a:pathLst>
          </a:custGeom>
          <a:solidFill>
            <a:srgbClr val="928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8" name="Freihandform: Form 77">
            <a:extLst>
              <a:ext uri="{FF2B5EF4-FFF2-40B4-BE49-F238E27FC236}">
                <a16:creationId xmlns:a16="http://schemas.microsoft.com/office/drawing/2014/main" id="{69A25700-42DC-4554-9079-623524ADB772}"/>
              </a:ext>
            </a:extLst>
          </p:cNvPr>
          <p:cNvSpPr/>
          <p:nvPr/>
        </p:nvSpPr>
        <p:spPr>
          <a:xfrm>
            <a:off x="7598569" y="3822518"/>
            <a:ext cx="657225" cy="411956"/>
          </a:xfrm>
          <a:custGeom>
            <a:avLst/>
            <a:gdLst>
              <a:gd name="connsiteX0" fmla="*/ 0 w 657225"/>
              <a:gd name="connsiteY0" fmla="*/ 114300 h 411956"/>
              <a:gd name="connsiteX1" fmla="*/ 433387 w 657225"/>
              <a:gd name="connsiteY1" fmla="*/ 66675 h 411956"/>
              <a:gd name="connsiteX2" fmla="*/ 373856 w 657225"/>
              <a:gd name="connsiteY2" fmla="*/ 0 h 411956"/>
              <a:gd name="connsiteX3" fmla="*/ 657225 w 657225"/>
              <a:gd name="connsiteY3" fmla="*/ 52388 h 411956"/>
              <a:gd name="connsiteX4" fmla="*/ 585787 w 657225"/>
              <a:gd name="connsiteY4" fmla="*/ 269081 h 411956"/>
              <a:gd name="connsiteX5" fmla="*/ 531019 w 657225"/>
              <a:gd name="connsiteY5" fmla="*/ 169069 h 411956"/>
              <a:gd name="connsiteX6" fmla="*/ 307181 w 657225"/>
              <a:gd name="connsiteY6" fmla="*/ 411956 h 411956"/>
              <a:gd name="connsiteX7" fmla="*/ 0 w 657225"/>
              <a:gd name="connsiteY7" fmla="*/ 114300 h 411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7225" h="411956">
                <a:moveTo>
                  <a:pt x="0" y="114300"/>
                </a:moveTo>
                <a:lnTo>
                  <a:pt x="433387" y="66675"/>
                </a:lnTo>
                <a:lnTo>
                  <a:pt x="373856" y="0"/>
                </a:lnTo>
                <a:lnTo>
                  <a:pt x="657225" y="52388"/>
                </a:lnTo>
                <a:lnTo>
                  <a:pt x="585787" y="269081"/>
                </a:lnTo>
                <a:lnTo>
                  <a:pt x="531019" y="169069"/>
                </a:lnTo>
                <a:lnTo>
                  <a:pt x="307181" y="411956"/>
                </a:lnTo>
                <a:lnTo>
                  <a:pt x="0" y="114300"/>
                </a:lnTo>
                <a:close/>
              </a:path>
            </a:pathLst>
          </a:custGeom>
          <a:solidFill>
            <a:srgbClr val="928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9" name="Freihandform: Form 78">
            <a:extLst>
              <a:ext uri="{FF2B5EF4-FFF2-40B4-BE49-F238E27FC236}">
                <a16:creationId xmlns:a16="http://schemas.microsoft.com/office/drawing/2014/main" id="{95F39BA4-AD4E-49E4-80DD-03F2FEDDF322}"/>
              </a:ext>
            </a:extLst>
          </p:cNvPr>
          <p:cNvSpPr/>
          <p:nvPr/>
        </p:nvSpPr>
        <p:spPr>
          <a:xfrm rot="17474395" flipV="1">
            <a:off x="7840775" y="4097845"/>
            <a:ext cx="635797" cy="809391"/>
          </a:xfrm>
          <a:custGeom>
            <a:avLst/>
            <a:gdLst>
              <a:gd name="connsiteX0" fmla="*/ 30957 w 635794"/>
              <a:gd name="connsiteY0" fmla="*/ 0 h 721518"/>
              <a:gd name="connsiteX1" fmla="*/ 0 w 635794"/>
              <a:gd name="connsiteY1" fmla="*/ 290512 h 721518"/>
              <a:gd name="connsiteX2" fmla="*/ 116682 w 635794"/>
              <a:gd name="connsiteY2" fmla="*/ 221456 h 721518"/>
              <a:gd name="connsiteX3" fmla="*/ 338138 w 635794"/>
              <a:gd name="connsiteY3" fmla="*/ 595312 h 721518"/>
              <a:gd name="connsiteX4" fmla="*/ 221457 w 635794"/>
              <a:gd name="connsiteY4" fmla="*/ 654843 h 721518"/>
              <a:gd name="connsiteX5" fmla="*/ 245269 w 635794"/>
              <a:gd name="connsiteY5" fmla="*/ 673893 h 721518"/>
              <a:gd name="connsiteX6" fmla="*/ 240507 w 635794"/>
              <a:gd name="connsiteY6" fmla="*/ 721518 h 721518"/>
              <a:gd name="connsiteX7" fmla="*/ 414338 w 635794"/>
              <a:gd name="connsiteY7" fmla="*/ 681037 h 721518"/>
              <a:gd name="connsiteX8" fmla="*/ 438150 w 635794"/>
              <a:gd name="connsiteY8" fmla="*/ 711993 h 721518"/>
              <a:gd name="connsiteX9" fmla="*/ 635794 w 635794"/>
              <a:gd name="connsiteY9" fmla="*/ 697706 h 721518"/>
              <a:gd name="connsiteX10" fmla="*/ 252413 w 635794"/>
              <a:gd name="connsiteY10" fmla="*/ 164306 h 721518"/>
              <a:gd name="connsiteX11" fmla="*/ 347663 w 635794"/>
              <a:gd name="connsiteY11" fmla="*/ 128587 h 721518"/>
              <a:gd name="connsiteX12" fmla="*/ 30957 w 635794"/>
              <a:gd name="connsiteY12" fmla="*/ 0 h 721518"/>
              <a:gd name="connsiteX0" fmla="*/ 30957 w 635794"/>
              <a:gd name="connsiteY0" fmla="*/ 0 h 721518"/>
              <a:gd name="connsiteX1" fmla="*/ 0 w 635794"/>
              <a:gd name="connsiteY1" fmla="*/ 290512 h 721518"/>
              <a:gd name="connsiteX2" fmla="*/ 116682 w 635794"/>
              <a:gd name="connsiteY2" fmla="*/ 221456 h 721518"/>
              <a:gd name="connsiteX3" fmla="*/ 338138 w 635794"/>
              <a:gd name="connsiteY3" fmla="*/ 595312 h 721518"/>
              <a:gd name="connsiteX4" fmla="*/ 221457 w 635794"/>
              <a:gd name="connsiteY4" fmla="*/ 654843 h 721518"/>
              <a:gd name="connsiteX5" fmla="*/ 245269 w 635794"/>
              <a:gd name="connsiteY5" fmla="*/ 673893 h 721518"/>
              <a:gd name="connsiteX6" fmla="*/ 240507 w 635794"/>
              <a:gd name="connsiteY6" fmla="*/ 721518 h 721518"/>
              <a:gd name="connsiteX7" fmla="*/ 414338 w 635794"/>
              <a:gd name="connsiteY7" fmla="*/ 681037 h 721518"/>
              <a:gd name="connsiteX8" fmla="*/ 438150 w 635794"/>
              <a:gd name="connsiteY8" fmla="*/ 711993 h 721518"/>
              <a:gd name="connsiteX9" fmla="*/ 635794 w 635794"/>
              <a:gd name="connsiteY9" fmla="*/ 697706 h 721518"/>
              <a:gd name="connsiteX10" fmla="*/ 252413 w 635794"/>
              <a:gd name="connsiteY10" fmla="*/ 164306 h 721518"/>
              <a:gd name="connsiteX11" fmla="*/ 347663 w 635794"/>
              <a:gd name="connsiteY11" fmla="*/ 128587 h 721518"/>
              <a:gd name="connsiteX12" fmla="*/ 30957 w 635794"/>
              <a:gd name="connsiteY12" fmla="*/ 0 h 721518"/>
              <a:gd name="connsiteX0" fmla="*/ 30957 w 635794"/>
              <a:gd name="connsiteY0" fmla="*/ 0 h 721518"/>
              <a:gd name="connsiteX1" fmla="*/ 0 w 635794"/>
              <a:gd name="connsiteY1" fmla="*/ 290512 h 721518"/>
              <a:gd name="connsiteX2" fmla="*/ 116682 w 635794"/>
              <a:gd name="connsiteY2" fmla="*/ 221456 h 721518"/>
              <a:gd name="connsiteX3" fmla="*/ 278606 w 635794"/>
              <a:gd name="connsiteY3" fmla="*/ 535781 h 721518"/>
              <a:gd name="connsiteX4" fmla="*/ 221457 w 635794"/>
              <a:gd name="connsiteY4" fmla="*/ 654843 h 721518"/>
              <a:gd name="connsiteX5" fmla="*/ 245269 w 635794"/>
              <a:gd name="connsiteY5" fmla="*/ 673893 h 721518"/>
              <a:gd name="connsiteX6" fmla="*/ 240507 w 635794"/>
              <a:gd name="connsiteY6" fmla="*/ 721518 h 721518"/>
              <a:gd name="connsiteX7" fmla="*/ 414338 w 635794"/>
              <a:gd name="connsiteY7" fmla="*/ 681037 h 721518"/>
              <a:gd name="connsiteX8" fmla="*/ 438150 w 635794"/>
              <a:gd name="connsiteY8" fmla="*/ 711993 h 721518"/>
              <a:gd name="connsiteX9" fmla="*/ 635794 w 635794"/>
              <a:gd name="connsiteY9" fmla="*/ 697706 h 721518"/>
              <a:gd name="connsiteX10" fmla="*/ 252413 w 635794"/>
              <a:gd name="connsiteY10" fmla="*/ 164306 h 721518"/>
              <a:gd name="connsiteX11" fmla="*/ 347663 w 635794"/>
              <a:gd name="connsiteY11" fmla="*/ 128587 h 721518"/>
              <a:gd name="connsiteX12" fmla="*/ 30957 w 635794"/>
              <a:gd name="connsiteY12" fmla="*/ 0 h 721518"/>
              <a:gd name="connsiteX0" fmla="*/ 30957 w 635794"/>
              <a:gd name="connsiteY0" fmla="*/ 0 h 721518"/>
              <a:gd name="connsiteX1" fmla="*/ 0 w 635794"/>
              <a:gd name="connsiteY1" fmla="*/ 290512 h 721518"/>
              <a:gd name="connsiteX2" fmla="*/ 116682 w 635794"/>
              <a:gd name="connsiteY2" fmla="*/ 221456 h 721518"/>
              <a:gd name="connsiteX3" fmla="*/ 278606 w 635794"/>
              <a:gd name="connsiteY3" fmla="*/ 535781 h 721518"/>
              <a:gd name="connsiteX4" fmla="*/ 221457 w 635794"/>
              <a:gd name="connsiteY4" fmla="*/ 654843 h 721518"/>
              <a:gd name="connsiteX5" fmla="*/ 245269 w 635794"/>
              <a:gd name="connsiteY5" fmla="*/ 673893 h 721518"/>
              <a:gd name="connsiteX6" fmla="*/ 240507 w 635794"/>
              <a:gd name="connsiteY6" fmla="*/ 721518 h 721518"/>
              <a:gd name="connsiteX7" fmla="*/ 414338 w 635794"/>
              <a:gd name="connsiteY7" fmla="*/ 681037 h 721518"/>
              <a:gd name="connsiteX8" fmla="*/ 438150 w 635794"/>
              <a:gd name="connsiteY8" fmla="*/ 711993 h 721518"/>
              <a:gd name="connsiteX9" fmla="*/ 635794 w 635794"/>
              <a:gd name="connsiteY9" fmla="*/ 697706 h 721518"/>
              <a:gd name="connsiteX10" fmla="*/ 442913 w 635794"/>
              <a:gd name="connsiteY10" fmla="*/ 371475 h 721518"/>
              <a:gd name="connsiteX11" fmla="*/ 252413 w 635794"/>
              <a:gd name="connsiteY11" fmla="*/ 164306 h 721518"/>
              <a:gd name="connsiteX12" fmla="*/ 347663 w 635794"/>
              <a:gd name="connsiteY12" fmla="*/ 128587 h 721518"/>
              <a:gd name="connsiteX13" fmla="*/ 30957 w 635794"/>
              <a:gd name="connsiteY13" fmla="*/ 0 h 721518"/>
              <a:gd name="connsiteX0" fmla="*/ 30957 w 635797"/>
              <a:gd name="connsiteY0" fmla="*/ 0 h 721518"/>
              <a:gd name="connsiteX1" fmla="*/ 0 w 635797"/>
              <a:gd name="connsiteY1" fmla="*/ 290512 h 721518"/>
              <a:gd name="connsiteX2" fmla="*/ 116682 w 635797"/>
              <a:gd name="connsiteY2" fmla="*/ 221456 h 721518"/>
              <a:gd name="connsiteX3" fmla="*/ 278606 w 635797"/>
              <a:gd name="connsiteY3" fmla="*/ 535781 h 721518"/>
              <a:gd name="connsiteX4" fmla="*/ 221457 w 635797"/>
              <a:gd name="connsiteY4" fmla="*/ 654843 h 721518"/>
              <a:gd name="connsiteX5" fmla="*/ 245269 w 635797"/>
              <a:gd name="connsiteY5" fmla="*/ 673893 h 721518"/>
              <a:gd name="connsiteX6" fmla="*/ 240507 w 635797"/>
              <a:gd name="connsiteY6" fmla="*/ 721518 h 721518"/>
              <a:gd name="connsiteX7" fmla="*/ 414338 w 635797"/>
              <a:gd name="connsiteY7" fmla="*/ 681037 h 721518"/>
              <a:gd name="connsiteX8" fmla="*/ 438150 w 635797"/>
              <a:gd name="connsiteY8" fmla="*/ 711993 h 721518"/>
              <a:gd name="connsiteX9" fmla="*/ 635794 w 635797"/>
              <a:gd name="connsiteY9" fmla="*/ 697706 h 721518"/>
              <a:gd name="connsiteX10" fmla="*/ 442913 w 635797"/>
              <a:gd name="connsiteY10" fmla="*/ 371475 h 721518"/>
              <a:gd name="connsiteX11" fmla="*/ 252413 w 635797"/>
              <a:gd name="connsiteY11" fmla="*/ 164306 h 721518"/>
              <a:gd name="connsiteX12" fmla="*/ 347663 w 635797"/>
              <a:gd name="connsiteY12" fmla="*/ 128587 h 721518"/>
              <a:gd name="connsiteX13" fmla="*/ 30957 w 635797"/>
              <a:gd name="connsiteY13" fmla="*/ 0 h 721518"/>
              <a:gd name="connsiteX0" fmla="*/ 30957 w 635797"/>
              <a:gd name="connsiteY0" fmla="*/ 0 h 809391"/>
              <a:gd name="connsiteX1" fmla="*/ 0 w 635797"/>
              <a:gd name="connsiteY1" fmla="*/ 290512 h 809391"/>
              <a:gd name="connsiteX2" fmla="*/ 116682 w 635797"/>
              <a:gd name="connsiteY2" fmla="*/ 221456 h 809391"/>
              <a:gd name="connsiteX3" fmla="*/ 278606 w 635797"/>
              <a:gd name="connsiteY3" fmla="*/ 535781 h 809391"/>
              <a:gd name="connsiteX4" fmla="*/ 221457 w 635797"/>
              <a:gd name="connsiteY4" fmla="*/ 654843 h 809391"/>
              <a:gd name="connsiteX5" fmla="*/ 245269 w 635797"/>
              <a:gd name="connsiteY5" fmla="*/ 673893 h 809391"/>
              <a:gd name="connsiteX6" fmla="*/ 240507 w 635797"/>
              <a:gd name="connsiteY6" fmla="*/ 721518 h 809391"/>
              <a:gd name="connsiteX7" fmla="*/ 414338 w 635797"/>
              <a:gd name="connsiteY7" fmla="*/ 681037 h 809391"/>
              <a:gd name="connsiteX8" fmla="*/ 471828 w 635797"/>
              <a:gd name="connsiteY8" fmla="*/ 809391 h 809391"/>
              <a:gd name="connsiteX9" fmla="*/ 635794 w 635797"/>
              <a:gd name="connsiteY9" fmla="*/ 697706 h 809391"/>
              <a:gd name="connsiteX10" fmla="*/ 442913 w 635797"/>
              <a:gd name="connsiteY10" fmla="*/ 371475 h 809391"/>
              <a:gd name="connsiteX11" fmla="*/ 252413 w 635797"/>
              <a:gd name="connsiteY11" fmla="*/ 164306 h 809391"/>
              <a:gd name="connsiteX12" fmla="*/ 347663 w 635797"/>
              <a:gd name="connsiteY12" fmla="*/ 128587 h 809391"/>
              <a:gd name="connsiteX13" fmla="*/ 30957 w 635797"/>
              <a:gd name="connsiteY13" fmla="*/ 0 h 809391"/>
              <a:gd name="connsiteX0" fmla="*/ 30957 w 635797"/>
              <a:gd name="connsiteY0" fmla="*/ 0 h 809391"/>
              <a:gd name="connsiteX1" fmla="*/ 0 w 635797"/>
              <a:gd name="connsiteY1" fmla="*/ 290512 h 809391"/>
              <a:gd name="connsiteX2" fmla="*/ 116682 w 635797"/>
              <a:gd name="connsiteY2" fmla="*/ 221456 h 809391"/>
              <a:gd name="connsiteX3" fmla="*/ 278606 w 635797"/>
              <a:gd name="connsiteY3" fmla="*/ 535781 h 809391"/>
              <a:gd name="connsiteX4" fmla="*/ 221457 w 635797"/>
              <a:gd name="connsiteY4" fmla="*/ 654843 h 809391"/>
              <a:gd name="connsiteX5" fmla="*/ 245269 w 635797"/>
              <a:gd name="connsiteY5" fmla="*/ 673893 h 809391"/>
              <a:gd name="connsiteX6" fmla="*/ 255440 w 635797"/>
              <a:gd name="connsiteY6" fmla="*/ 801412 h 809391"/>
              <a:gd name="connsiteX7" fmla="*/ 414338 w 635797"/>
              <a:gd name="connsiteY7" fmla="*/ 681037 h 809391"/>
              <a:gd name="connsiteX8" fmla="*/ 471828 w 635797"/>
              <a:gd name="connsiteY8" fmla="*/ 809391 h 809391"/>
              <a:gd name="connsiteX9" fmla="*/ 635794 w 635797"/>
              <a:gd name="connsiteY9" fmla="*/ 697706 h 809391"/>
              <a:gd name="connsiteX10" fmla="*/ 442913 w 635797"/>
              <a:gd name="connsiteY10" fmla="*/ 371475 h 809391"/>
              <a:gd name="connsiteX11" fmla="*/ 252413 w 635797"/>
              <a:gd name="connsiteY11" fmla="*/ 164306 h 809391"/>
              <a:gd name="connsiteX12" fmla="*/ 347663 w 635797"/>
              <a:gd name="connsiteY12" fmla="*/ 128587 h 809391"/>
              <a:gd name="connsiteX13" fmla="*/ 30957 w 635797"/>
              <a:gd name="connsiteY13" fmla="*/ 0 h 809391"/>
              <a:gd name="connsiteX0" fmla="*/ 30957 w 635797"/>
              <a:gd name="connsiteY0" fmla="*/ 0 h 809391"/>
              <a:gd name="connsiteX1" fmla="*/ 0 w 635797"/>
              <a:gd name="connsiteY1" fmla="*/ 290512 h 809391"/>
              <a:gd name="connsiteX2" fmla="*/ 116682 w 635797"/>
              <a:gd name="connsiteY2" fmla="*/ 221456 h 809391"/>
              <a:gd name="connsiteX3" fmla="*/ 278606 w 635797"/>
              <a:gd name="connsiteY3" fmla="*/ 535781 h 809391"/>
              <a:gd name="connsiteX4" fmla="*/ 221457 w 635797"/>
              <a:gd name="connsiteY4" fmla="*/ 654843 h 809391"/>
              <a:gd name="connsiteX5" fmla="*/ 215947 w 635797"/>
              <a:gd name="connsiteY5" fmla="*/ 795345 h 809391"/>
              <a:gd name="connsiteX6" fmla="*/ 255440 w 635797"/>
              <a:gd name="connsiteY6" fmla="*/ 801412 h 809391"/>
              <a:gd name="connsiteX7" fmla="*/ 414338 w 635797"/>
              <a:gd name="connsiteY7" fmla="*/ 681037 h 809391"/>
              <a:gd name="connsiteX8" fmla="*/ 471828 w 635797"/>
              <a:gd name="connsiteY8" fmla="*/ 809391 h 809391"/>
              <a:gd name="connsiteX9" fmla="*/ 635794 w 635797"/>
              <a:gd name="connsiteY9" fmla="*/ 697706 h 809391"/>
              <a:gd name="connsiteX10" fmla="*/ 442913 w 635797"/>
              <a:gd name="connsiteY10" fmla="*/ 371475 h 809391"/>
              <a:gd name="connsiteX11" fmla="*/ 252413 w 635797"/>
              <a:gd name="connsiteY11" fmla="*/ 164306 h 809391"/>
              <a:gd name="connsiteX12" fmla="*/ 347663 w 635797"/>
              <a:gd name="connsiteY12" fmla="*/ 128587 h 809391"/>
              <a:gd name="connsiteX13" fmla="*/ 30957 w 635797"/>
              <a:gd name="connsiteY13" fmla="*/ 0 h 809391"/>
              <a:gd name="connsiteX0" fmla="*/ 30957 w 635797"/>
              <a:gd name="connsiteY0" fmla="*/ 0 h 809391"/>
              <a:gd name="connsiteX1" fmla="*/ 0 w 635797"/>
              <a:gd name="connsiteY1" fmla="*/ 290512 h 809391"/>
              <a:gd name="connsiteX2" fmla="*/ 116682 w 635797"/>
              <a:gd name="connsiteY2" fmla="*/ 221456 h 809391"/>
              <a:gd name="connsiteX3" fmla="*/ 278606 w 635797"/>
              <a:gd name="connsiteY3" fmla="*/ 535781 h 809391"/>
              <a:gd name="connsiteX4" fmla="*/ 227630 w 635797"/>
              <a:gd name="connsiteY4" fmla="*/ 698119 h 809391"/>
              <a:gd name="connsiteX5" fmla="*/ 215947 w 635797"/>
              <a:gd name="connsiteY5" fmla="*/ 795345 h 809391"/>
              <a:gd name="connsiteX6" fmla="*/ 255440 w 635797"/>
              <a:gd name="connsiteY6" fmla="*/ 801412 h 809391"/>
              <a:gd name="connsiteX7" fmla="*/ 414338 w 635797"/>
              <a:gd name="connsiteY7" fmla="*/ 681037 h 809391"/>
              <a:gd name="connsiteX8" fmla="*/ 471828 w 635797"/>
              <a:gd name="connsiteY8" fmla="*/ 809391 h 809391"/>
              <a:gd name="connsiteX9" fmla="*/ 635794 w 635797"/>
              <a:gd name="connsiteY9" fmla="*/ 697706 h 809391"/>
              <a:gd name="connsiteX10" fmla="*/ 442913 w 635797"/>
              <a:gd name="connsiteY10" fmla="*/ 371475 h 809391"/>
              <a:gd name="connsiteX11" fmla="*/ 252413 w 635797"/>
              <a:gd name="connsiteY11" fmla="*/ 164306 h 809391"/>
              <a:gd name="connsiteX12" fmla="*/ 347663 w 635797"/>
              <a:gd name="connsiteY12" fmla="*/ 128587 h 809391"/>
              <a:gd name="connsiteX13" fmla="*/ 30957 w 635797"/>
              <a:gd name="connsiteY13" fmla="*/ 0 h 80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35797" h="809391">
                <a:moveTo>
                  <a:pt x="30957" y="0"/>
                </a:moveTo>
                <a:lnTo>
                  <a:pt x="0" y="290512"/>
                </a:lnTo>
                <a:lnTo>
                  <a:pt x="116682" y="221456"/>
                </a:lnTo>
                <a:cubicBezTo>
                  <a:pt x="173038" y="272256"/>
                  <a:pt x="260115" y="456337"/>
                  <a:pt x="278606" y="535781"/>
                </a:cubicBezTo>
                <a:cubicBezTo>
                  <a:pt x="297097" y="615225"/>
                  <a:pt x="243108" y="685022"/>
                  <a:pt x="227630" y="698119"/>
                </a:cubicBezTo>
                <a:lnTo>
                  <a:pt x="215947" y="795345"/>
                </a:lnTo>
                <a:lnTo>
                  <a:pt x="255440" y="801412"/>
                </a:lnTo>
                <a:lnTo>
                  <a:pt x="414338" y="681037"/>
                </a:lnTo>
                <a:lnTo>
                  <a:pt x="471828" y="809391"/>
                </a:lnTo>
                <a:lnTo>
                  <a:pt x="635794" y="697706"/>
                </a:lnTo>
                <a:cubicBezTo>
                  <a:pt x="636588" y="640953"/>
                  <a:pt x="506413" y="440531"/>
                  <a:pt x="442913" y="371475"/>
                </a:cubicBezTo>
                <a:lnTo>
                  <a:pt x="252413" y="164306"/>
                </a:lnTo>
                <a:lnTo>
                  <a:pt x="347663" y="128587"/>
                </a:lnTo>
                <a:lnTo>
                  <a:pt x="30957" y="0"/>
                </a:lnTo>
                <a:close/>
              </a:path>
            </a:pathLst>
          </a:custGeom>
          <a:solidFill>
            <a:srgbClr val="9283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02EF9540-4ACC-4DB0-A1BB-F20091988E0A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6622" y="3541048"/>
            <a:ext cx="2084890" cy="1403573"/>
          </a:xfrm>
          <a:prstGeom prst="rect">
            <a:avLst/>
          </a:prstGeom>
        </p:spPr>
      </p:pic>
      <p:grpSp>
        <p:nvGrpSpPr>
          <p:cNvPr id="68" name="Group 67">
            <a:extLst>
              <a:ext uri="{FF2B5EF4-FFF2-40B4-BE49-F238E27FC236}">
                <a16:creationId xmlns:a16="http://schemas.microsoft.com/office/drawing/2014/main" id="{C04CA18C-6B7B-4977-AD45-29BCCBA306BA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1081808" y="2842580"/>
            <a:ext cx="359915" cy="876977"/>
            <a:chOff x="6297930" y="2743200"/>
            <a:chExt cx="811530" cy="1977390"/>
          </a:xfrm>
          <a:noFill/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A77C5B61-8245-4591-AB48-92D0744F36E0}"/>
                </a:ext>
              </a:extLst>
            </p:cNvPr>
            <p:cNvSpPr/>
            <p:nvPr/>
          </p:nvSpPr>
          <p:spPr bwMode="auto">
            <a:xfrm>
              <a:off x="6496050" y="2743200"/>
              <a:ext cx="438150" cy="1977390"/>
            </a:xfrm>
            <a:custGeom>
              <a:avLst/>
              <a:gdLst>
                <a:gd name="connsiteX0" fmla="*/ 0 w 445770"/>
                <a:gd name="connsiteY0" fmla="*/ 1969770 h 1977390"/>
                <a:gd name="connsiteX1" fmla="*/ 87630 w 445770"/>
                <a:gd name="connsiteY1" fmla="*/ 1485900 h 1977390"/>
                <a:gd name="connsiteX2" fmla="*/ 129540 w 445770"/>
                <a:gd name="connsiteY2" fmla="*/ 967740 h 1977390"/>
                <a:gd name="connsiteX3" fmla="*/ 160020 w 445770"/>
                <a:gd name="connsiteY3" fmla="*/ 144780 h 1977390"/>
                <a:gd name="connsiteX4" fmla="*/ 179070 w 445770"/>
                <a:gd name="connsiteY4" fmla="*/ 0 h 1977390"/>
                <a:gd name="connsiteX5" fmla="*/ 224790 w 445770"/>
                <a:gd name="connsiteY5" fmla="*/ 0 h 1977390"/>
                <a:gd name="connsiteX6" fmla="*/ 243840 w 445770"/>
                <a:gd name="connsiteY6" fmla="*/ 148590 h 1977390"/>
                <a:gd name="connsiteX7" fmla="*/ 293370 w 445770"/>
                <a:gd name="connsiteY7" fmla="*/ 963930 h 1977390"/>
                <a:gd name="connsiteX8" fmla="*/ 354330 w 445770"/>
                <a:gd name="connsiteY8" fmla="*/ 1497330 h 1977390"/>
                <a:gd name="connsiteX9" fmla="*/ 445770 w 445770"/>
                <a:gd name="connsiteY9" fmla="*/ 1977390 h 1977390"/>
                <a:gd name="connsiteX10" fmla="*/ 220980 w 445770"/>
                <a:gd name="connsiteY10" fmla="*/ 1741170 h 1977390"/>
                <a:gd name="connsiteX11" fmla="*/ 0 w 445770"/>
                <a:gd name="connsiteY11" fmla="*/ 1969770 h 1977390"/>
                <a:gd name="connsiteX0" fmla="*/ 0 w 445770"/>
                <a:gd name="connsiteY0" fmla="*/ 1981200 h 1981200"/>
                <a:gd name="connsiteX1" fmla="*/ 87630 w 445770"/>
                <a:gd name="connsiteY1" fmla="*/ 1485900 h 1981200"/>
                <a:gd name="connsiteX2" fmla="*/ 129540 w 445770"/>
                <a:gd name="connsiteY2" fmla="*/ 967740 h 1981200"/>
                <a:gd name="connsiteX3" fmla="*/ 160020 w 445770"/>
                <a:gd name="connsiteY3" fmla="*/ 144780 h 1981200"/>
                <a:gd name="connsiteX4" fmla="*/ 179070 w 445770"/>
                <a:gd name="connsiteY4" fmla="*/ 0 h 1981200"/>
                <a:gd name="connsiteX5" fmla="*/ 224790 w 445770"/>
                <a:gd name="connsiteY5" fmla="*/ 0 h 1981200"/>
                <a:gd name="connsiteX6" fmla="*/ 243840 w 445770"/>
                <a:gd name="connsiteY6" fmla="*/ 148590 h 1981200"/>
                <a:gd name="connsiteX7" fmla="*/ 293370 w 445770"/>
                <a:gd name="connsiteY7" fmla="*/ 963930 h 1981200"/>
                <a:gd name="connsiteX8" fmla="*/ 354330 w 445770"/>
                <a:gd name="connsiteY8" fmla="*/ 1497330 h 1981200"/>
                <a:gd name="connsiteX9" fmla="*/ 445770 w 445770"/>
                <a:gd name="connsiteY9" fmla="*/ 1977390 h 1981200"/>
                <a:gd name="connsiteX10" fmla="*/ 220980 w 445770"/>
                <a:gd name="connsiteY10" fmla="*/ 1741170 h 1981200"/>
                <a:gd name="connsiteX11" fmla="*/ 0 w 445770"/>
                <a:gd name="connsiteY11" fmla="*/ 1981200 h 1981200"/>
                <a:gd name="connsiteX0" fmla="*/ 0 w 445770"/>
                <a:gd name="connsiteY0" fmla="*/ 1981200 h 1988820"/>
                <a:gd name="connsiteX1" fmla="*/ 87630 w 445770"/>
                <a:gd name="connsiteY1" fmla="*/ 1485900 h 1988820"/>
                <a:gd name="connsiteX2" fmla="*/ 129540 w 445770"/>
                <a:gd name="connsiteY2" fmla="*/ 967740 h 1988820"/>
                <a:gd name="connsiteX3" fmla="*/ 160020 w 445770"/>
                <a:gd name="connsiteY3" fmla="*/ 144780 h 1988820"/>
                <a:gd name="connsiteX4" fmla="*/ 179070 w 445770"/>
                <a:gd name="connsiteY4" fmla="*/ 0 h 1988820"/>
                <a:gd name="connsiteX5" fmla="*/ 224790 w 445770"/>
                <a:gd name="connsiteY5" fmla="*/ 0 h 1988820"/>
                <a:gd name="connsiteX6" fmla="*/ 243840 w 445770"/>
                <a:gd name="connsiteY6" fmla="*/ 148590 h 1988820"/>
                <a:gd name="connsiteX7" fmla="*/ 293370 w 445770"/>
                <a:gd name="connsiteY7" fmla="*/ 963930 h 1988820"/>
                <a:gd name="connsiteX8" fmla="*/ 354330 w 445770"/>
                <a:gd name="connsiteY8" fmla="*/ 1497330 h 1988820"/>
                <a:gd name="connsiteX9" fmla="*/ 445770 w 445770"/>
                <a:gd name="connsiteY9" fmla="*/ 1988820 h 1988820"/>
                <a:gd name="connsiteX10" fmla="*/ 220980 w 445770"/>
                <a:gd name="connsiteY10" fmla="*/ 1741170 h 1988820"/>
                <a:gd name="connsiteX11" fmla="*/ 0 w 445770"/>
                <a:gd name="connsiteY11" fmla="*/ 1981200 h 1988820"/>
                <a:gd name="connsiteX0" fmla="*/ 0 w 441960"/>
                <a:gd name="connsiteY0" fmla="*/ 1981200 h 1981200"/>
                <a:gd name="connsiteX1" fmla="*/ 87630 w 441960"/>
                <a:gd name="connsiteY1" fmla="*/ 1485900 h 1981200"/>
                <a:gd name="connsiteX2" fmla="*/ 129540 w 441960"/>
                <a:gd name="connsiteY2" fmla="*/ 967740 h 1981200"/>
                <a:gd name="connsiteX3" fmla="*/ 160020 w 441960"/>
                <a:gd name="connsiteY3" fmla="*/ 144780 h 1981200"/>
                <a:gd name="connsiteX4" fmla="*/ 179070 w 441960"/>
                <a:gd name="connsiteY4" fmla="*/ 0 h 1981200"/>
                <a:gd name="connsiteX5" fmla="*/ 224790 w 441960"/>
                <a:gd name="connsiteY5" fmla="*/ 0 h 1981200"/>
                <a:gd name="connsiteX6" fmla="*/ 243840 w 441960"/>
                <a:gd name="connsiteY6" fmla="*/ 148590 h 1981200"/>
                <a:gd name="connsiteX7" fmla="*/ 293370 w 441960"/>
                <a:gd name="connsiteY7" fmla="*/ 963930 h 1981200"/>
                <a:gd name="connsiteX8" fmla="*/ 354330 w 441960"/>
                <a:gd name="connsiteY8" fmla="*/ 1497330 h 1981200"/>
                <a:gd name="connsiteX9" fmla="*/ 441960 w 441960"/>
                <a:gd name="connsiteY9" fmla="*/ 1973580 h 1981200"/>
                <a:gd name="connsiteX10" fmla="*/ 220980 w 441960"/>
                <a:gd name="connsiteY10" fmla="*/ 1741170 h 1981200"/>
                <a:gd name="connsiteX11" fmla="*/ 0 w 441960"/>
                <a:gd name="connsiteY11" fmla="*/ 1981200 h 1981200"/>
                <a:gd name="connsiteX0" fmla="*/ 0 w 438150"/>
                <a:gd name="connsiteY0" fmla="*/ 1977390 h 1977390"/>
                <a:gd name="connsiteX1" fmla="*/ 83820 w 438150"/>
                <a:gd name="connsiteY1" fmla="*/ 1485900 h 1977390"/>
                <a:gd name="connsiteX2" fmla="*/ 125730 w 438150"/>
                <a:gd name="connsiteY2" fmla="*/ 967740 h 1977390"/>
                <a:gd name="connsiteX3" fmla="*/ 156210 w 438150"/>
                <a:gd name="connsiteY3" fmla="*/ 144780 h 1977390"/>
                <a:gd name="connsiteX4" fmla="*/ 175260 w 438150"/>
                <a:gd name="connsiteY4" fmla="*/ 0 h 1977390"/>
                <a:gd name="connsiteX5" fmla="*/ 220980 w 438150"/>
                <a:gd name="connsiteY5" fmla="*/ 0 h 1977390"/>
                <a:gd name="connsiteX6" fmla="*/ 240030 w 438150"/>
                <a:gd name="connsiteY6" fmla="*/ 148590 h 1977390"/>
                <a:gd name="connsiteX7" fmla="*/ 289560 w 438150"/>
                <a:gd name="connsiteY7" fmla="*/ 963930 h 1977390"/>
                <a:gd name="connsiteX8" fmla="*/ 350520 w 438150"/>
                <a:gd name="connsiteY8" fmla="*/ 1497330 h 1977390"/>
                <a:gd name="connsiteX9" fmla="*/ 438150 w 438150"/>
                <a:gd name="connsiteY9" fmla="*/ 1973580 h 1977390"/>
                <a:gd name="connsiteX10" fmla="*/ 217170 w 438150"/>
                <a:gd name="connsiteY10" fmla="*/ 1741170 h 1977390"/>
                <a:gd name="connsiteX11" fmla="*/ 0 w 438150"/>
                <a:gd name="connsiteY11" fmla="*/ 1977390 h 1977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8150" h="1977390">
                  <a:moveTo>
                    <a:pt x="0" y="1977390"/>
                  </a:moveTo>
                  <a:lnTo>
                    <a:pt x="83820" y="1485900"/>
                  </a:lnTo>
                  <a:lnTo>
                    <a:pt x="125730" y="967740"/>
                  </a:lnTo>
                  <a:lnTo>
                    <a:pt x="156210" y="144780"/>
                  </a:lnTo>
                  <a:lnTo>
                    <a:pt x="175260" y="0"/>
                  </a:lnTo>
                  <a:lnTo>
                    <a:pt x="220980" y="0"/>
                  </a:lnTo>
                  <a:lnTo>
                    <a:pt x="240030" y="148590"/>
                  </a:lnTo>
                  <a:lnTo>
                    <a:pt x="289560" y="963930"/>
                  </a:lnTo>
                  <a:lnTo>
                    <a:pt x="350520" y="1497330"/>
                  </a:lnTo>
                  <a:lnTo>
                    <a:pt x="438150" y="1973580"/>
                  </a:lnTo>
                  <a:lnTo>
                    <a:pt x="217170" y="1741170"/>
                  </a:lnTo>
                  <a:lnTo>
                    <a:pt x="0" y="1977390"/>
                  </a:lnTo>
                  <a:close/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45359C70-6030-4382-A892-5EAD7707AFCB}"/>
                </a:ext>
              </a:extLst>
            </p:cNvPr>
            <p:cNvSpPr/>
            <p:nvPr/>
          </p:nvSpPr>
          <p:spPr bwMode="auto">
            <a:xfrm>
              <a:off x="6374130" y="3642360"/>
              <a:ext cx="662940" cy="72390"/>
            </a:xfrm>
            <a:custGeom>
              <a:avLst/>
              <a:gdLst>
                <a:gd name="connsiteX0" fmla="*/ 0 w 662940"/>
                <a:gd name="connsiteY0" fmla="*/ 72390 h 72390"/>
                <a:gd name="connsiteX1" fmla="*/ 662940 w 662940"/>
                <a:gd name="connsiteY1" fmla="*/ 60960 h 72390"/>
                <a:gd name="connsiteX2" fmla="*/ 411480 w 662940"/>
                <a:gd name="connsiteY2" fmla="*/ 0 h 72390"/>
                <a:gd name="connsiteX3" fmla="*/ 247650 w 662940"/>
                <a:gd name="connsiteY3" fmla="*/ 0 h 72390"/>
                <a:gd name="connsiteX4" fmla="*/ 0 w 662940"/>
                <a:gd name="connsiteY4" fmla="*/ 72390 h 72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2940" h="72390">
                  <a:moveTo>
                    <a:pt x="0" y="72390"/>
                  </a:moveTo>
                  <a:lnTo>
                    <a:pt x="662940" y="60960"/>
                  </a:lnTo>
                  <a:lnTo>
                    <a:pt x="411480" y="0"/>
                  </a:lnTo>
                  <a:lnTo>
                    <a:pt x="247650" y="0"/>
                  </a:lnTo>
                  <a:lnTo>
                    <a:pt x="0" y="72390"/>
                  </a:lnTo>
                  <a:close/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3AAF2C4-4491-40B0-A3AA-AB5434BF5571}"/>
                </a:ext>
              </a:extLst>
            </p:cNvPr>
            <p:cNvSpPr/>
            <p:nvPr/>
          </p:nvSpPr>
          <p:spPr bwMode="auto">
            <a:xfrm>
              <a:off x="6297930" y="3272790"/>
              <a:ext cx="811530" cy="91440"/>
            </a:xfrm>
            <a:custGeom>
              <a:avLst/>
              <a:gdLst>
                <a:gd name="connsiteX0" fmla="*/ 0 w 811530"/>
                <a:gd name="connsiteY0" fmla="*/ 91440 h 91440"/>
                <a:gd name="connsiteX1" fmla="*/ 339090 w 811530"/>
                <a:gd name="connsiteY1" fmla="*/ 0 h 91440"/>
                <a:gd name="connsiteX2" fmla="*/ 468630 w 811530"/>
                <a:gd name="connsiteY2" fmla="*/ 0 h 91440"/>
                <a:gd name="connsiteX3" fmla="*/ 811530 w 811530"/>
                <a:gd name="connsiteY3" fmla="*/ 83820 h 91440"/>
                <a:gd name="connsiteX4" fmla="*/ 468630 w 811530"/>
                <a:gd name="connsiteY4" fmla="*/ 83820 h 91440"/>
                <a:gd name="connsiteX5" fmla="*/ 335280 w 811530"/>
                <a:gd name="connsiteY5" fmla="*/ 83820 h 91440"/>
                <a:gd name="connsiteX6" fmla="*/ 0 w 811530"/>
                <a:gd name="connsiteY6" fmla="*/ 9144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1530" h="91440">
                  <a:moveTo>
                    <a:pt x="0" y="91440"/>
                  </a:moveTo>
                  <a:lnTo>
                    <a:pt x="339090" y="0"/>
                  </a:lnTo>
                  <a:lnTo>
                    <a:pt x="468630" y="0"/>
                  </a:lnTo>
                  <a:lnTo>
                    <a:pt x="811530" y="83820"/>
                  </a:lnTo>
                  <a:lnTo>
                    <a:pt x="468630" y="83820"/>
                  </a:lnTo>
                  <a:lnTo>
                    <a:pt x="335280" y="83820"/>
                  </a:lnTo>
                  <a:lnTo>
                    <a:pt x="0" y="91440"/>
                  </a:lnTo>
                  <a:close/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B16630BF-F028-41AF-B1B0-293780869895}"/>
                </a:ext>
              </a:extLst>
            </p:cNvPr>
            <p:cNvSpPr/>
            <p:nvPr/>
          </p:nvSpPr>
          <p:spPr bwMode="auto">
            <a:xfrm>
              <a:off x="6419850" y="2884170"/>
              <a:ext cx="560070" cy="72390"/>
            </a:xfrm>
            <a:custGeom>
              <a:avLst/>
              <a:gdLst>
                <a:gd name="connsiteX0" fmla="*/ 0 w 560070"/>
                <a:gd name="connsiteY0" fmla="*/ 68580 h 72390"/>
                <a:gd name="connsiteX1" fmla="*/ 0 w 560070"/>
                <a:gd name="connsiteY1" fmla="*/ 68580 h 72390"/>
                <a:gd name="connsiteX2" fmla="*/ 236220 w 560070"/>
                <a:gd name="connsiteY2" fmla="*/ 0 h 72390"/>
                <a:gd name="connsiteX3" fmla="*/ 323850 w 560070"/>
                <a:gd name="connsiteY3" fmla="*/ 0 h 72390"/>
                <a:gd name="connsiteX4" fmla="*/ 560070 w 560070"/>
                <a:gd name="connsiteY4" fmla="*/ 60960 h 72390"/>
                <a:gd name="connsiteX5" fmla="*/ 320040 w 560070"/>
                <a:gd name="connsiteY5" fmla="*/ 68580 h 72390"/>
                <a:gd name="connsiteX6" fmla="*/ 228600 w 560070"/>
                <a:gd name="connsiteY6" fmla="*/ 72390 h 72390"/>
                <a:gd name="connsiteX7" fmla="*/ 0 w 560070"/>
                <a:gd name="connsiteY7" fmla="*/ 68580 h 72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0070" h="72390">
                  <a:moveTo>
                    <a:pt x="0" y="68580"/>
                  </a:moveTo>
                  <a:lnTo>
                    <a:pt x="0" y="68580"/>
                  </a:lnTo>
                  <a:lnTo>
                    <a:pt x="236220" y="0"/>
                  </a:lnTo>
                  <a:lnTo>
                    <a:pt x="323850" y="0"/>
                  </a:lnTo>
                  <a:lnTo>
                    <a:pt x="560070" y="60960"/>
                  </a:lnTo>
                  <a:lnTo>
                    <a:pt x="320040" y="68580"/>
                  </a:lnTo>
                  <a:lnTo>
                    <a:pt x="228600" y="72390"/>
                  </a:lnTo>
                  <a:lnTo>
                    <a:pt x="0" y="68580"/>
                  </a:lnTo>
                  <a:close/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8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B152DD9-6742-4B7A-BD52-52A0A539362D}"/>
                </a:ext>
              </a:extLst>
            </p:cNvPr>
            <p:cNvSpPr/>
            <p:nvPr/>
          </p:nvSpPr>
          <p:spPr bwMode="auto">
            <a:xfrm>
              <a:off x="6534150" y="4229100"/>
              <a:ext cx="358140" cy="251460"/>
            </a:xfrm>
            <a:custGeom>
              <a:avLst/>
              <a:gdLst>
                <a:gd name="connsiteX0" fmla="*/ 41910 w 358140"/>
                <a:gd name="connsiteY0" fmla="*/ 3810 h 251460"/>
                <a:gd name="connsiteX1" fmla="*/ 190500 w 358140"/>
                <a:gd name="connsiteY1" fmla="*/ 3810 h 251460"/>
                <a:gd name="connsiteX2" fmla="*/ 0 w 358140"/>
                <a:gd name="connsiteY2" fmla="*/ 251460 h 251460"/>
                <a:gd name="connsiteX3" fmla="*/ 358140 w 358140"/>
                <a:gd name="connsiteY3" fmla="*/ 240030 h 251460"/>
                <a:gd name="connsiteX4" fmla="*/ 182880 w 358140"/>
                <a:gd name="connsiteY4" fmla="*/ 7620 h 251460"/>
                <a:gd name="connsiteX5" fmla="*/ 312420 w 358140"/>
                <a:gd name="connsiteY5" fmla="*/ 0 h 25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140" h="251460">
                  <a:moveTo>
                    <a:pt x="41910" y="3810"/>
                  </a:moveTo>
                  <a:lnTo>
                    <a:pt x="190500" y="3810"/>
                  </a:lnTo>
                  <a:lnTo>
                    <a:pt x="0" y="251460"/>
                  </a:lnTo>
                  <a:lnTo>
                    <a:pt x="358140" y="240030"/>
                  </a:lnTo>
                  <a:lnTo>
                    <a:pt x="182880" y="7620"/>
                  </a:lnTo>
                  <a:lnTo>
                    <a:pt x="312420" y="0"/>
                  </a:lnTo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88A245B3-B177-4390-A1F6-A0DD772B1846}"/>
                </a:ext>
              </a:extLst>
            </p:cNvPr>
            <p:cNvSpPr/>
            <p:nvPr/>
          </p:nvSpPr>
          <p:spPr bwMode="auto">
            <a:xfrm>
              <a:off x="6579870" y="3707130"/>
              <a:ext cx="266700" cy="521970"/>
            </a:xfrm>
            <a:custGeom>
              <a:avLst/>
              <a:gdLst>
                <a:gd name="connsiteX0" fmla="*/ 0 w 266700"/>
                <a:gd name="connsiteY0" fmla="*/ 521970 h 521970"/>
                <a:gd name="connsiteX1" fmla="*/ 129540 w 266700"/>
                <a:gd name="connsiteY1" fmla="*/ 316230 h 521970"/>
                <a:gd name="connsiteX2" fmla="*/ 26670 w 266700"/>
                <a:gd name="connsiteY2" fmla="*/ 255270 h 521970"/>
                <a:gd name="connsiteX3" fmla="*/ 217170 w 266700"/>
                <a:gd name="connsiteY3" fmla="*/ 106680 h 521970"/>
                <a:gd name="connsiteX4" fmla="*/ 41910 w 266700"/>
                <a:gd name="connsiteY4" fmla="*/ 0 h 521970"/>
                <a:gd name="connsiteX5" fmla="*/ 213360 w 266700"/>
                <a:gd name="connsiteY5" fmla="*/ 0 h 521970"/>
                <a:gd name="connsiteX6" fmla="*/ 30480 w 266700"/>
                <a:gd name="connsiteY6" fmla="*/ 114300 h 521970"/>
                <a:gd name="connsiteX7" fmla="*/ 243840 w 266700"/>
                <a:gd name="connsiteY7" fmla="*/ 240030 h 521970"/>
                <a:gd name="connsiteX8" fmla="*/ 125730 w 266700"/>
                <a:gd name="connsiteY8" fmla="*/ 320040 h 521970"/>
                <a:gd name="connsiteX9" fmla="*/ 266700 w 266700"/>
                <a:gd name="connsiteY9" fmla="*/ 514350 h 521970"/>
                <a:gd name="connsiteX0" fmla="*/ 0 w 266700"/>
                <a:gd name="connsiteY0" fmla="*/ 521970 h 521970"/>
                <a:gd name="connsiteX1" fmla="*/ 129540 w 266700"/>
                <a:gd name="connsiteY1" fmla="*/ 316230 h 521970"/>
                <a:gd name="connsiteX2" fmla="*/ 26670 w 266700"/>
                <a:gd name="connsiteY2" fmla="*/ 255270 h 521970"/>
                <a:gd name="connsiteX3" fmla="*/ 217170 w 266700"/>
                <a:gd name="connsiteY3" fmla="*/ 106680 h 521970"/>
                <a:gd name="connsiteX4" fmla="*/ 41910 w 266700"/>
                <a:gd name="connsiteY4" fmla="*/ 0 h 521970"/>
                <a:gd name="connsiteX5" fmla="*/ 213360 w 266700"/>
                <a:gd name="connsiteY5" fmla="*/ 0 h 521970"/>
                <a:gd name="connsiteX6" fmla="*/ 30480 w 266700"/>
                <a:gd name="connsiteY6" fmla="*/ 114300 h 521970"/>
                <a:gd name="connsiteX7" fmla="*/ 232410 w 266700"/>
                <a:gd name="connsiteY7" fmla="*/ 240030 h 521970"/>
                <a:gd name="connsiteX8" fmla="*/ 125730 w 266700"/>
                <a:gd name="connsiteY8" fmla="*/ 320040 h 521970"/>
                <a:gd name="connsiteX9" fmla="*/ 266700 w 266700"/>
                <a:gd name="connsiteY9" fmla="*/ 514350 h 52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700" h="521970">
                  <a:moveTo>
                    <a:pt x="0" y="521970"/>
                  </a:moveTo>
                  <a:lnTo>
                    <a:pt x="129540" y="316230"/>
                  </a:lnTo>
                  <a:lnTo>
                    <a:pt x="26670" y="255270"/>
                  </a:lnTo>
                  <a:lnTo>
                    <a:pt x="217170" y="106680"/>
                  </a:lnTo>
                  <a:lnTo>
                    <a:pt x="41910" y="0"/>
                  </a:lnTo>
                  <a:lnTo>
                    <a:pt x="213360" y="0"/>
                  </a:lnTo>
                  <a:lnTo>
                    <a:pt x="30480" y="114300"/>
                  </a:lnTo>
                  <a:lnTo>
                    <a:pt x="232410" y="240030"/>
                  </a:lnTo>
                  <a:lnTo>
                    <a:pt x="125730" y="320040"/>
                  </a:lnTo>
                  <a:lnTo>
                    <a:pt x="266700" y="514350"/>
                  </a:lnTo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5DD4389-4DD5-498D-97FD-593B07D365A5}"/>
                </a:ext>
              </a:extLst>
            </p:cNvPr>
            <p:cNvSpPr/>
            <p:nvPr/>
          </p:nvSpPr>
          <p:spPr bwMode="auto">
            <a:xfrm>
              <a:off x="6435090" y="2956560"/>
              <a:ext cx="0" cy="177172"/>
            </a:xfrm>
            <a:custGeom>
              <a:avLst/>
              <a:gdLst>
                <a:gd name="connsiteX0" fmla="*/ 3810 w 3810"/>
                <a:gd name="connsiteY0" fmla="*/ 179070 h 179070"/>
                <a:gd name="connsiteX1" fmla="*/ 0 w 3810"/>
                <a:gd name="connsiteY1" fmla="*/ 0 h 179070"/>
                <a:gd name="connsiteX0" fmla="*/ 0 w 20000"/>
                <a:gd name="connsiteY0" fmla="*/ 10000 h 10000"/>
                <a:gd name="connsiteX1" fmla="*/ 20000 w 20000"/>
                <a:gd name="connsiteY1" fmla="*/ 0 h 10000"/>
                <a:gd name="connsiteX0" fmla="*/ 10000 w 10000"/>
                <a:gd name="connsiteY0" fmla="*/ 9894 h 9894"/>
                <a:gd name="connsiteX1" fmla="*/ 0 w 10000"/>
                <a:gd name="connsiteY1" fmla="*/ 0 h 9894"/>
                <a:gd name="connsiteX0" fmla="*/ 0 w 0"/>
                <a:gd name="connsiteY0" fmla="*/ 10000 h 10000"/>
                <a:gd name="connsiteX1" fmla="*/ 0 w 0"/>
                <a:gd name="connsiteY1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0000">
                  <a:moveTo>
                    <a:pt x="0" y="10000"/>
                  </a:moveTo>
                  <a:lnTo>
                    <a:pt x="0" y="0"/>
                  </a:lnTo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E4680E2-DBB3-49E7-804A-331A15D6D69A}"/>
                </a:ext>
              </a:extLst>
            </p:cNvPr>
            <p:cNvSpPr/>
            <p:nvPr/>
          </p:nvSpPr>
          <p:spPr bwMode="auto">
            <a:xfrm>
              <a:off x="6972300" y="2952750"/>
              <a:ext cx="0" cy="175260"/>
            </a:xfrm>
            <a:custGeom>
              <a:avLst/>
              <a:gdLst>
                <a:gd name="connsiteX0" fmla="*/ 0 w 0"/>
                <a:gd name="connsiteY0" fmla="*/ 175260 h 175260"/>
                <a:gd name="connsiteX1" fmla="*/ 0 w 0"/>
                <a:gd name="connsiteY1" fmla="*/ 0 h 175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75260">
                  <a:moveTo>
                    <a:pt x="0" y="175260"/>
                  </a:moveTo>
                  <a:lnTo>
                    <a:pt x="0" y="0"/>
                  </a:lnTo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F08C6658-EFC6-4444-93AF-77DD1F67F0BE}"/>
                </a:ext>
              </a:extLst>
            </p:cNvPr>
            <p:cNvSpPr/>
            <p:nvPr/>
          </p:nvSpPr>
          <p:spPr bwMode="auto">
            <a:xfrm>
              <a:off x="7105650" y="3360420"/>
              <a:ext cx="0" cy="169551"/>
            </a:xfrm>
            <a:custGeom>
              <a:avLst/>
              <a:gdLst>
                <a:gd name="connsiteX0" fmla="*/ 0 w 3810"/>
                <a:gd name="connsiteY0" fmla="*/ 167640 h 167640"/>
                <a:gd name="connsiteX1" fmla="*/ 3810 w 3810"/>
                <a:gd name="connsiteY1" fmla="*/ 0 h 167640"/>
                <a:gd name="connsiteX0" fmla="*/ 10000 w 10000"/>
                <a:gd name="connsiteY0" fmla="*/ 10000 h 10000"/>
                <a:gd name="connsiteX1" fmla="*/ 0 w 10000"/>
                <a:gd name="connsiteY1" fmla="*/ 0 h 10000"/>
                <a:gd name="connsiteX0" fmla="*/ 0 w 0"/>
                <a:gd name="connsiteY0" fmla="*/ 10114 h 10114"/>
                <a:gd name="connsiteX1" fmla="*/ 0 w 0"/>
                <a:gd name="connsiteY1" fmla="*/ 0 h 1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0114">
                  <a:moveTo>
                    <a:pt x="0" y="10114"/>
                  </a:moveTo>
                  <a:lnTo>
                    <a:pt x="0" y="0"/>
                  </a:lnTo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5A9BE425-965B-4480-826F-511465ACEB92}"/>
                </a:ext>
              </a:extLst>
            </p:cNvPr>
            <p:cNvSpPr/>
            <p:nvPr/>
          </p:nvSpPr>
          <p:spPr bwMode="auto">
            <a:xfrm>
              <a:off x="6305550" y="3368040"/>
              <a:ext cx="0" cy="192406"/>
            </a:xfrm>
            <a:custGeom>
              <a:avLst/>
              <a:gdLst>
                <a:gd name="connsiteX0" fmla="*/ 0 w 3810"/>
                <a:gd name="connsiteY0" fmla="*/ 194310 h 194310"/>
                <a:gd name="connsiteX1" fmla="*/ 3810 w 3810"/>
                <a:gd name="connsiteY1" fmla="*/ 0 h 194310"/>
                <a:gd name="connsiteX0" fmla="*/ 5000 w 5000"/>
                <a:gd name="connsiteY0" fmla="*/ 9902 h 9902"/>
                <a:gd name="connsiteX1" fmla="*/ 0 w 5000"/>
                <a:gd name="connsiteY1" fmla="*/ 0 h 9902"/>
                <a:gd name="connsiteX0" fmla="*/ 0 w 0"/>
                <a:gd name="connsiteY0" fmla="*/ 10000 h 10000"/>
                <a:gd name="connsiteX1" fmla="*/ 0 w 0"/>
                <a:gd name="connsiteY1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0000">
                  <a:moveTo>
                    <a:pt x="0" y="10000"/>
                  </a:moveTo>
                  <a:lnTo>
                    <a:pt x="0" y="0"/>
                  </a:lnTo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19349D8-A48D-46BF-9C0A-9225FD7B75C1}"/>
                </a:ext>
              </a:extLst>
            </p:cNvPr>
            <p:cNvSpPr/>
            <p:nvPr/>
          </p:nvSpPr>
          <p:spPr bwMode="auto">
            <a:xfrm>
              <a:off x="6374130" y="3720466"/>
              <a:ext cx="0" cy="188594"/>
            </a:xfrm>
            <a:custGeom>
              <a:avLst/>
              <a:gdLst>
                <a:gd name="connsiteX0" fmla="*/ 0 w 3810"/>
                <a:gd name="connsiteY0" fmla="*/ 186690 h 186690"/>
                <a:gd name="connsiteX1" fmla="*/ 3810 w 3810"/>
                <a:gd name="connsiteY1" fmla="*/ 0 h 186690"/>
                <a:gd name="connsiteX0" fmla="*/ 0 w 0"/>
                <a:gd name="connsiteY0" fmla="*/ 10102 h 10102"/>
                <a:gd name="connsiteX1" fmla="*/ 0 w 0"/>
                <a:gd name="connsiteY1" fmla="*/ 0 h 10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0102">
                  <a:moveTo>
                    <a:pt x="0" y="10102"/>
                  </a:moveTo>
                  <a:lnTo>
                    <a:pt x="0" y="0"/>
                  </a:lnTo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E282211-4420-420F-B4CE-100674466268}"/>
                </a:ext>
              </a:extLst>
            </p:cNvPr>
            <p:cNvSpPr/>
            <p:nvPr/>
          </p:nvSpPr>
          <p:spPr bwMode="auto">
            <a:xfrm>
              <a:off x="7037070" y="3703320"/>
              <a:ext cx="0" cy="186690"/>
            </a:xfrm>
            <a:custGeom>
              <a:avLst/>
              <a:gdLst>
                <a:gd name="connsiteX0" fmla="*/ 0 w 0"/>
                <a:gd name="connsiteY0" fmla="*/ 186690 h 186690"/>
                <a:gd name="connsiteX1" fmla="*/ 0 w 0"/>
                <a:gd name="connsiteY1" fmla="*/ 0 h 186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86690">
                  <a:moveTo>
                    <a:pt x="0" y="186690"/>
                  </a:moveTo>
                  <a:lnTo>
                    <a:pt x="0" y="0"/>
                  </a:lnTo>
                </a:path>
              </a:pathLst>
            </a:custGeom>
            <a:grpFill/>
            <a:ln w="19050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D82C283-E0E3-4A1C-A3F8-C7A65453CAF2}"/>
                </a:ext>
              </a:extLst>
            </p:cNvPr>
            <p:cNvSpPr/>
            <p:nvPr/>
          </p:nvSpPr>
          <p:spPr bwMode="auto">
            <a:xfrm>
              <a:off x="6625590" y="2884170"/>
              <a:ext cx="160020" cy="826770"/>
            </a:xfrm>
            <a:custGeom>
              <a:avLst/>
              <a:gdLst>
                <a:gd name="connsiteX0" fmla="*/ 160020 w 160020"/>
                <a:gd name="connsiteY0" fmla="*/ 815340 h 826770"/>
                <a:gd name="connsiteX1" fmla="*/ 7620 w 160020"/>
                <a:gd name="connsiteY1" fmla="*/ 716280 h 826770"/>
                <a:gd name="connsiteX2" fmla="*/ 152400 w 160020"/>
                <a:gd name="connsiteY2" fmla="*/ 632460 h 826770"/>
                <a:gd name="connsiteX3" fmla="*/ 15240 w 160020"/>
                <a:gd name="connsiteY3" fmla="*/ 563880 h 826770"/>
                <a:gd name="connsiteX4" fmla="*/ 129540 w 160020"/>
                <a:gd name="connsiteY4" fmla="*/ 476250 h 826770"/>
                <a:gd name="connsiteX5" fmla="*/ 15240 w 160020"/>
                <a:gd name="connsiteY5" fmla="*/ 388620 h 826770"/>
                <a:gd name="connsiteX6" fmla="*/ 129540 w 160020"/>
                <a:gd name="connsiteY6" fmla="*/ 316230 h 826770"/>
                <a:gd name="connsiteX7" fmla="*/ 19050 w 160020"/>
                <a:gd name="connsiteY7" fmla="*/ 251460 h 826770"/>
                <a:gd name="connsiteX8" fmla="*/ 118110 w 160020"/>
                <a:gd name="connsiteY8" fmla="*/ 179070 h 826770"/>
                <a:gd name="connsiteX9" fmla="*/ 26670 w 160020"/>
                <a:gd name="connsiteY9" fmla="*/ 125730 h 826770"/>
                <a:gd name="connsiteX10" fmla="*/ 114300 w 160020"/>
                <a:gd name="connsiteY10" fmla="*/ 60960 h 826770"/>
                <a:gd name="connsiteX11" fmla="*/ 26670 w 160020"/>
                <a:gd name="connsiteY11" fmla="*/ 0 h 826770"/>
                <a:gd name="connsiteX12" fmla="*/ 110490 w 160020"/>
                <a:gd name="connsiteY12" fmla="*/ 0 h 826770"/>
                <a:gd name="connsiteX13" fmla="*/ 30480 w 160020"/>
                <a:gd name="connsiteY13" fmla="*/ 68580 h 826770"/>
                <a:gd name="connsiteX14" fmla="*/ 125730 w 160020"/>
                <a:gd name="connsiteY14" fmla="*/ 125730 h 826770"/>
                <a:gd name="connsiteX15" fmla="*/ 22860 w 160020"/>
                <a:gd name="connsiteY15" fmla="*/ 190500 h 826770"/>
                <a:gd name="connsiteX16" fmla="*/ 129540 w 160020"/>
                <a:gd name="connsiteY16" fmla="*/ 251460 h 826770"/>
                <a:gd name="connsiteX17" fmla="*/ 19050 w 160020"/>
                <a:gd name="connsiteY17" fmla="*/ 323850 h 826770"/>
                <a:gd name="connsiteX18" fmla="*/ 137160 w 160020"/>
                <a:gd name="connsiteY18" fmla="*/ 392430 h 826770"/>
                <a:gd name="connsiteX19" fmla="*/ 11430 w 160020"/>
                <a:gd name="connsiteY19" fmla="*/ 468630 h 826770"/>
                <a:gd name="connsiteX20" fmla="*/ 144780 w 160020"/>
                <a:gd name="connsiteY20" fmla="*/ 556260 h 826770"/>
                <a:gd name="connsiteX21" fmla="*/ 7620 w 160020"/>
                <a:gd name="connsiteY21" fmla="*/ 640080 h 826770"/>
                <a:gd name="connsiteX22" fmla="*/ 156210 w 160020"/>
                <a:gd name="connsiteY22" fmla="*/ 712470 h 826770"/>
                <a:gd name="connsiteX23" fmla="*/ 0 w 160020"/>
                <a:gd name="connsiteY23" fmla="*/ 826770 h 826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0020" h="826770">
                  <a:moveTo>
                    <a:pt x="160020" y="815340"/>
                  </a:moveTo>
                  <a:lnTo>
                    <a:pt x="7620" y="716280"/>
                  </a:lnTo>
                  <a:lnTo>
                    <a:pt x="152400" y="632460"/>
                  </a:lnTo>
                  <a:lnTo>
                    <a:pt x="15240" y="563880"/>
                  </a:lnTo>
                  <a:lnTo>
                    <a:pt x="129540" y="476250"/>
                  </a:lnTo>
                  <a:lnTo>
                    <a:pt x="15240" y="388620"/>
                  </a:lnTo>
                  <a:lnTo>
                    <a:pt x="129540" y="316230"/>
                  </a:lnTo>
                  <a:lnTo>
                    <a:pt x="19050" y="251460"/>
                  </a:lnTo>
                  <a:lnTo>
                    <a:pt x="118110" y="179070"/>
                  </a:lnTo>
                  <a:lnTo>
                    <a:pt x="26670" y="125730"/>
                  </a:lnTo>
                  <a:lnTo>
                    <a:pt x="114300" y="60960"/>
                  </a:lnTo>
                  <a:lnTo>
                    <a:pt x="26670" y="0"/>
                  </a:lnTo>
                  <a:lnTo>
                    <a:pt x="110490" y="0"/>
                  </a:lnTo>
                  <a:lnTo>
                    <a:pt x="30480" y="68580"/>
                  </a:lnTo>
                  <a:lnTo>
                    <a:pt x="125730" y="125730"/>
                  </a:lnTo>
                  <a:lnTo>
                    <a:pt x="22860" y="190500"/>
                  </a:lnTo>
                  <a:lnTo>
                    <a:pt x="129540" y="251460"/>
                  </a:lnTo>
                  <a:lnTo>
                    <a:pt x="19050" y="323850"/>
                  </a:lnTo>
                  <a:lnTo>
                    <a:pt x="137160" y="392430"/>
                  </a:lnTo>
                  <a:lnTo>
                    <a:pt x="11430" y="468630"/>
                  </a:lnTo>
                  <a:lnTo>
                    <a:pt x="144780" y="556260"/>
                  </a:lnTo>
                  <a:lnTo>
                    <a:pt x="7620" y="640080"/>
                  </a:lnTo>
                  <a:lnTo>
                    <a:pt x="156210" y="712470"/>
                  </a:lnTo>
                  <a:lnTo>
                    <a:pt x="0" y="826770"/>
                  </a:lnTo>
                </a:path>
              </a:pathLst>
            </a:custGeom>
            <a:grpFill/>
            <a:ln w="9525">
              <a:solidFill>
                <a:schemeClr val="tx2">
                  <a:lumMod val="50000"/>
                  <a:lumOff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  <a:ea typeface="ヒラギノ角ゴ Pro W3" charset="0"/>
              </a:endParaRPr>
            </a:p>
          </p:txBody>
        </p:sp>
      </p:grpSp>
      <p:sp>
        <p:nvSpPr>
          <p:cNvPr id="87" name="Pfeil: nach unten 17">
            <a:extLst>
              <a:ext uri="{FF2B5EF4-FFF2-40B4-BE49-F238E27FC236}">
                <a16:creationId xmlns:a16="http://schemas.microsoft.com/office/drawing/2014/main" id="{D0FCB112-FC6C-47E8-991F-B7E47FD46992}"/>
              </a:ext>
            </a:extLst>
          </p:cNvPr>
          <p:cNvSpPr/>
          <p:nvPr/>
        </p:nvSpPr>
        <p:spPr bwMode="gray">
          <a:xfrm rot="13584144">
            <a:off x="625515" y="2955901"/>
            <a:ext cx="211211" cy="565559"/>
          </a:xfrm>
          <a:prstGeom prst="downArrow">
            <a:avLst>
              <a:gd name="adj1" fmla="val 57560"/>
              <a:gd name="adj2" fmla="val 59450"/>
            </a:avLst>
          </a:prstGeom>
          <a:gradFill flip="none" rotWithShape="1">
            <a:gsLst>
              <a:gs pos="100000">
                <a:srgbClr val="9283B4">
                  <a:alpha val="0"/>
                </a:srgbClr>
              </a:gs>
              <a:gs pos="0">
                <a:srgbClr val="9283B4"/>
              </a:gs>
            </a:gsLst>
            <a:lin ang="16200000" scaled="1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1200" b="1" dirty="0">
              <a:solidFill>
                <a:srgbClr val="3C464B"/>
              </a:solidFill>
              <a:ea typeface="Arial Unicode MS"/>
            </a:endParaRPr>
          </a:p>
        </p:txBody>
      </p:sp>
      <p:pic>
        <p:nvPicPr>
          <p:cNvPr id="89" name="Grafik 10" descr="Illustration of three wind turbines">
            <a:extLst>
              <a:ext uri="{FF2B5EF4-FFF2-40B4-BE49-F238E27FC236}">
                <a16:creationId xmlns:a16="http://schemas.microsoft.com/office/drawing/2014/main" id="{D93DC89F-F754-1447-B35E-08BC43CEC2EE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569" y="2960147"/>
            <a:ext cx="1160796" cy="1495202"/>
          </a:xfrm>
          <a:prstGeom prst="rect">
            <a:avLst/>
          </a:prstGeom>
          <a:ln>
            <a:noFill/>
          </a:ln>
        </p:spPr>
      </p:pic>
      <p:sp>
        <p:nvSpPr>
          <p:cNvPr id="90" name="Rechteck 16">
            <a:extLst>
              <a:ext uri="{FF2B5EF4-FFF2-40B4-BE49-F238E27FC236}">
                <a16:creationId xmlns:a16="http://schemas.microsoft.com/office/drawing/2014/main" id="{C296B0A6-0814-F544-B43A-5630ED191FC5}"/>
              </a:ext>
            </a:extLst>
          </p:cNvPr>
          <p:cNvSpPr/>
          <p:nvPr/>
        </p:nvSpPr>
        <p:spPr>
          <a:xfrm>
            <a:off x="-456171" y="2716291"/>
            <a:ext cx="2015999" cy="201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1" name="Generation">
            <a:extLst>
              <a:ext uri="{FF2B5EF4-FFF2-40B4-BE49-F238E27FC236}">
                <a16:creationId xmlns:a16="http://schemas.microsoft.com/office/drawing/2014/main" id="{72AC5A3C-F985-4CA4-91AB-DD945D1D4103}"/>
              </a:ext>
            </a:extLst>
          </p:cNvPr>
          <p:cNvGrpSpPr>
            <a:grpSpLocks noChangeAspect="1"/>
          </p:cNvGrpSpPr>
          <p:nvPr/>
        </p:nvGrpSpPr>
        <p:grpSpPr>
          <a:xfrm>
            <a:off x="10096511" y="3877760"/>
            <a:ext cx="1948069" cy="1948069"/>
            <a:chOff x="626400" y="1414801"/>
            <a:chExt cx="2160000" cy="2160000"/>
          </a:xfrm>
        </p:grpSpPr>
        <p:pic>
          <p:nvPicPr>
            <p:cNvPr id="92" name="Grafik 6" descr="Illustration of a power plant for power generation">
              <a:extLst>
                <a:ext uri="{FF2B5EF4-FFF2-40B4-BE49-F238E27FC236}">
                  <a16:creationId xmlns:a16="http://schemas.microsoft.com/office/drawing/2014/main" id="{201BA969-6B43-4427-B1F6-33116ECBB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794" y="1703388"/>
              <a:ext cx="2005733" cy="1643436"/>
            </a:xfrm>
            <a:prstGeom prst="rect">
              <a:avLst/>
            </a:prstGeom>
            <a:ln>
              <a:noFill/>
            </a:ln>
          </p:spPr>
        </p:pic>
        <p:sp>
          <p:nvSpPr>
            <p:cNvPr id="93" name="Rechteck 7">
              <a:extLst>
                <a:ext uri="{FF2B5EF4-FFF2-40B4-BE49-F238E27FC236}">
                  <a16:creationId xmlns:a16="http://schemas.microsoft.com/office/drawing/2014/main" id="{B6A9886C-8630-4D7B-87C1-D673ACE97232}"/>
                </a:ext>
              </a:extLst>
            </p:cNvPr>
            <p:cNvSpPr/>
            <p:nvPr/>
          </p:nvSpPr>
          <p:spPr>
            <a:xfrm>
              <a:off x="626400" y="1414801"/>
              <a:ext cx="2160000" cy="216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94" name="Grafik 11" descr="Illustration of three wind turbines with service car in front">
            <a:extLst>
              <a:ext uri="{FF2B5EF4-FFF2-40B4-BE49-F238E27FC236}">
                <a16:creationId xmlns:a16="http://schemas.microsoft.com/office/drawing/2014/main" id="{50BC1EBF-CCF7-41A2-A4DD-89268325135C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7901"/>
          <a:stretch/>
        </p:blipFill>
        <p:spPr>
          <a:xfrm>
            <a:off x="10714199" y="1900655"/>
            <a:ext cx="853235" cy="8270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8218DD4-4E3D-4395-A148-40D351E062A7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197" y="2873535"/>
            <a:ext cx="1012333" cy="1146839"/>
          </a:xfrm>
          <a:prstGeom prst="rect">
            <a:avLst/>
          </a:prstGeom>
        </p:spPr>
      </p:pic>
      <p:sp>
        <p:nvSpPr>
          <p:cNvPr id="65" name="Textfeld 44">
            <a:extLst>
              <a:ext uri="{FF2B5EF4-FFF2-40B4-BE49-F238E27FC236}">
                <a16:creationId xmlns:a16="http://schemas.microsoft.com/office/drawing/2014/main" id="{9DA47F00-BB99-4FCB-A295-AE1DC9900E8D}"/>
              </a:ext>
            </a:extLst>
          </p:cNvPr>
          <p:cNvSpPr txBox="1"/>
          <p:nvPr/>
        </p:nvSpPr>
        <p:spPr>
          <a:xfrm>
            <a:off x="10800696" y="1643065"/>
            <a:ext cx="8532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1200" dirty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Use cases</a:t>
            </a:r>
          </a:p>
        </p:txBody>
      </p:sp>
      <p:sp>
        <p:nvSpPr>
          <p:cNvPr id="66" name="Pfeil: nach unten 17">
            <a:extLst>
              <a:ext uri="{FF2B5EF4-FFF2-40B4-BE49-F238E27FC236}">
                <a16:creationId xmlns:a16="http://schemas.microsoft.com/office/drawing/2014/main" id="{B85E48FC-B695-41C5-AD3D-CADB010B8CFA}"/>
              </a:ext>
            </a:extLst>
          </p:cNvPr>
          <p:cNvSpPr/>
          <p:nvPr/>
        </p:nvSpPr>
        <p:spPr bwMode="gray">
          <a:xfrm rot="15456219">
            <a:off x="10065474" y="3304182"/>
            <a:ext cx="211211" cy="565559"/>
          </a:xfrm>
          <a:prstGeom prst="downArrow">
            <a:avLst>
              <a:gd name="adj1" fmla="val 57560"/>
              <a:gd name="adj2" fmla="val 59450"/>
            </a:avLst>
          </a:prstGeom>
          <a:gradFill flip="none" rotWithShape="1">
            <a:gsLst>
              <a:gs pos="100000">
                <a:srgbClr val="9283B4">
                  <a:alpha val="0"/>
                </a:srgbClr>
              </a:gs>
              <a:gs pos="0">
                <a:srgbClr val="9283B4"/>
              </a:gs>
            </a:gsLst>
            <a:lin ang="16200000" scaled="1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1200" b="1" dirty="0">
              <a:solidFill>
                <a:srgbClr val="3C464B"/>
              </a:solidFill>
              <a:ea typeface="Arial Unicode MS"/>
            </a:endParaRPr>
          </a:p>
        </p:txBody>
      </p:sp>
      <p:sp>
        <p:nvSpPr>
          <p:cNvPr id="67" name="Pfeil: nach unten 17">
            <a:extLst>
              <a:ext uri="{FF2B5EF4-FFF2-40B4-BE49-F238E27FC236}">
                <a16:creationId xmlns:a16="http://schemas.microsoft.com/office/drawing/2014/main" id="{23F50663-D4B6-4E41-86A7-6FC3E333F57D}"/>
              </a:ext>
            </a:extLst>
          </p:cNvPr>
          <p:cNvSpPr/>
          <p:nvPr/>
        </p:nvSpPr>
        <p:spPr bwMode="gray">
          <a:xfrm rot="13801011">
            <a:off x="10042446" y="2813650"/>
            <a:ext cx="211211" cy="565559"/>
          </a:xfrm>
          <a:prstGeom prst="downArrow">
            <a:avLst>
              <a:gd name="adj1" fmla="val 57560"/>
              <a:gd name="adj2" fmla="val 59450"/>
            </a:avLst>
          </a:prstGeom>
          <a:gradFill flip="none" rotWithShape="1">
            <a:gsLst>
              <a:gs pos="100000">
                <a:srgbClr val="9283B4">
                  <a:alpha val="0"/>
                </a:srgbClr>
              </a:gs>
              <a:gs pos="0">
                <a:srgbClr val="9283B4"/>
              </a:gs>
            </a:gsLst>
            <a:lin ang="16200000" scaled="1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1200" b="1" dirty="0">
              <a:solidFill>
                <a:srgbClr val="3C464B"/>
              </a:solidFill>
              <a:ea typeface="Arial Unicode MS"/>
            </a:endParaRPr>
          </a:p>
        </p:txBody>
      </p:sp>
      <p:sp>
        <p:nvSpPr>
          <p:cNvPr id="95" name="Pfeil: nach unten 17">
            <a:extLst>
              <a:ext uri="{FF2B5EF4-FFF2-40B4-BE49-F238E27FC236}">
                <a16:creationId xmlns:a16="http://schemas.microsoft.com/office/drawing/2014/main" id="{EEDAA07E-34AD-41C8-8544-C37A0540023C}"/>
              </a:ext>
            </a:extLst>
          </p:cNvPr>
          <p:cNvSpPr/>
          <p:nvPr/>
        </p:nvSpPr>
        <p:spPr bwMode="gray">
          <a:xfrm rot="18059215">
            <a:off x="10196175" y="3909565"/>
            <a:ext cx="211211" cy="565559"/>
          </a:xfrm>
          <a:prstGeom prst="downArrow">
            <a:avLst>
              <a:gd name="adj1" fmla="val 57560"/>
              <a:gd name="adj2" fmla="val 59450"/>
            </a:avLst>
          </a:prstGeom>
          <a:gradFill flip="none" rotWithShape="1">
            <a:gsLst>
              <a:gs pos="100000">
                <a:srgbClr val="9283B4">
                  <a:alpha val="0"/>
                </a:srgbClr>
              </a:gs>
              <a:gs pos="0">
                <a:srgbClr val="9283B4"/>
              </a:gs>
            </a:gsLst>
            <a:lin ang="16200000" scaled="1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1200" b="1" dirty="0">
              <a:solidFill>
                <a:srgbClr val="3C464B"/>
              </a:solidFill>
              <a:ea typeface="Arial Unicode MS"/>
            </a:endParaRPr>
          </a:p>
        </p:txBody>
      </p:sp>
      <p:sp>
        <p:nvSpPr>
          <p:cNvPr id="96" name="License statement">
            <a:extLst>
              <a:ext uri="{FF2B5EF4-FFF2-40B4-BE49-F238E27FC236}">
                <a16:creationId xmlns:a16="http://schemas.microsoft.com/office/drawing/2014/main" id="{9BBB9A51-EE54-484D-8FD9-86288D205EE4}"/>
              </a:ext>
            </a:extLst>
          </p:cNvPr>
          <p:cNvSpPr txBox="1"/>
          <p:nvPr/>
        </p:nvSpPr>
        <p:spPr>
          <a:xfrm>
            <a:off x="1692000" y="6526800"/>
            <a:ext cx="4402800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 dirty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97" name="Logo">
            <a:extLst>
              <a:ext uri="{FF2B5EF4-FFF2-40B4-BE49-F238E27FC236}">
                <a16:creationId xmlns:a16="http://schemas.microsoft.com/office/drawing/2014/main" id="{2C649F19-7467-4599-A57D-C6953B552858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C237116A-78A8-4C04-B9AA-F7C63DF0DFE5}"/>
              </a:ext>
            </a:extLst>
          </p:cNvPr>
          <p:cNvGrpSpPr/>
          <p:nvPr/>
        </p:nvGrpSpPr>
        <p:grpSpPr>
          <a:xfrm>
            <a:off x="30137" y="4598353"/>
            <a:ext cx="1645444" cy="983457"/>
            <a:chOff x="30137" y="4598353"/>
            <a:chExt cx="1645444" cy="983457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31AB260-ECFE-4129-AE42-028782022C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/>
            <a:srcRect l="46943" t="47769" r="40493" b="38689"/>
            <a:stretch/>
          </p:blipFill>
          <p:spPr>
            <a:xfrm>
              <a:off x="102154" y="4608948"/>
              <a:ext cx="1531778" cy="928694"/>
            </a:xfrm>
            <a:prstGeom prst="rect">
              <a:avLst/>
            </a:prstGeom>
          </p:spPr>
        </p:pic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0961EFE-5C07-4E70-B499-73D98F966F51}"/>
                </a:ext>
              </a:extLst>
            </p:cNvPr>
            <p:cNvSpPr/>
            <p:nvPr/>
          </p:nvSpPr>
          <p:spPr>
            <a:xfrm>
              <a:off x="1485081" y="5096035"/>
              <a:ext cx="83343" cy="45243"/>
            </a:xfrm>
            <a:custGeom>
              <a:avLst/>
              <a:gdLst>
                <a:gd name="connsiteX0" fmla="*/ 47625 w 47625"/>
                <a:gd name="connsiteY0" fmla="*/ 0 h 23812"/>
                <a:gd name="connsiteX1" fmla="*/ 0 w 47625"/>
                <a:gd name="connsiteY1" fmla="*/ 23812 h 23812"/>
                <a:gd name="connsiteX2" fmla="*/ 47625 w 47625"/>
                <a:gd name="connsiteY2" fmla="*/ 0 h 23812"/>
                <a:gd name="connsiteX0" fmla="*/ 47625 w 47625"/>
                <a:gd name="connsiteY0" fmla="*/ 0 h 23812"/>
                <a:gd name="connsiteX1" fmla="*/ 0 w 47625"/>
                <a:gd name="connsiteY1" fmla="*/ 23812 h 23812"/>
                <a:gd name="connsiteX2" fmla="*/ 23812 w 47625"/>
                <a:gd name="connsiteY2" fmla="*/ 14287 h 23812"/>
                <a:gd name="connsiteX3" fmla="*/ 47625 w 47625"/>
                <a:gd name="connsiteY3" fmla="*/ 0 h 23812"/>
                <a:gd name="connsiteX0" fmla="*/ 47625 w 83343"/>
                <a:gd name="connsiteY0" fmla="*/ 0 h 23812"/>
                <a:gd name="connsiteX1" fmla="*/ 0 w 83343"/>
                <a:gd name="connsiteY1" fmla="*/ 23812 h 23812"/>
                <a:gd name="connsiteX2" fmla="*/ 83343 w 83343"/>
                <a:gd name="connsiteY2" fmla="*/ 19050 h 23812"/>
                <a:gd name="connsiteX3" fmla="*/ 47625 w 83343"/>
                <a:gd name="connsiteY3" fmla="*/ 0 h 23812"/>
                <a:gd name="connsiteX0" fmla="*/ 47625 w 83343"/>
                <a:gd name="connsiteY0" fmla="*/ 0 h 23812"/>
                <a:gd name="connsiteX1" fmla="*/ 0 w 83343"/>
                <a:gd name="connsiteY1" fmla="*/ 23812 h 23812"/>
                <a:gd name="connsiteX2" fmla="*/ 35718 w 83343"/>
                <a:gd name="connsiteY2" fmla="*/ 21431 h 23812"/>
                <a:gd name="connsiteX3" fmla="*/ 83343 w 83343"/>
                <a:gd name="connsiteY3" fmla="*/ 19050 h 23812"/>
                <a:gd name="connsiteX4" fmla="*/ 47625 w 83343"/>
                <a:gd name="connsiteY4" fmla="*/ 0 h 23812"/>
                <a:gd name="connsiteX0" fmla="*/ 47625 w 83343"/>
                <a:gd name="connsiteY0" fmla="*/ 0 h 52387"/>
                <a:gd name="connsiteX1" fmla="*/ 0 w 83343"/>
                <a:gd name="connsiteY1" fmla="*/ 23812 h 52387"/>
                <a:gd name="connsiteX2" fmla="*/ 33336 w 83343"/>
                <a:gd name="connsiteY2" fmla="*/ 52387 h 52387"/>
                <a:gd name="connsiteX3" fmla="*/ 83343 w 83343"/>
                <a:gd name="connsiteY3" fmla="*/ 19050 h 52387"/>
                <a:gd name="connsiteX4" fmla="*/ 47625 w 83343"/>
                <a:gd name="connsiteY4" fmla="*/ 0 h 52387"/>
                <a:gd name="connsiteX0" fmla="*/ 47625 w 83343"/>
                <a:gd name="connsiteY0" fmla="*/ 0 h 45243"/>
                <a:gd name="connsiteX1" fmla="*/ 0 w 83343"/>
                <a:gd name="connsiteY1" fmla="*/ 23812 h 45243"/>
                <a:gd name="connsiteX2" fmla="*/ 40480 w 83343"/>
                <a:gd name="connsiteY2" fmla="*/ 45243 h 45243"/>
                <a:gd name="connsiteX3" fmla="*/ 83343 w 83343"/>
                <a:gd name="connsiteY3" fmla="*/ 19050 h 45243"/>
                <a:gd name="connsiteX4" fmla="*/ 47625 w 83343"/>
                <a:gd name="connsiteY4" fmla="*/ 0 h 45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343" h="45243">
                  <a:moveTo>
                    <a:pt x="47625" y="0"/>
                  </a:moveTo>
                  <a:lnTo>
                    <a:pt x="0" y="23812"/>
                  </a:lnTo>
                  <a:lnTo>
                    <a:pt x="40480" y="45243"/>
                  </a:lnTo>
                  <a:lnTo>
                    <a:pt x="83343" y="19050"/>
                  </a:lnTo>
                  <a:lnTo>
                    <a:pt x="4762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CD5C19A-1AB9-4B02-8BA0-8AD1F8F0C986}"/>
                </a:ext>
              </a:extLst>
            </p:cNvPr>
            <p:cNvSpPr/>
            <p:nvPr/>
          </p:nvSpPr>
          <p:spPr>
            <a:xfrm>
              <a:off x="589730" y="4598353"/>
              <a:ext cx="1083469" cy="571500"/>
            </a:xfrm>
            <a:custGeom>
              <a:avLst/>
              <a:gdLst>
                <a:gd name="connsiteX0" fmla="*/ 52388 w 1083469"/>
                <a:gd name="connsiteY0" fmla="*/ 26194 h 571500"/>
                <a:gd name="connsiteX1" fmla="*/ 1078707 w 1083469"/>
                <a:gd name="connsiteY1" fmla="*/ 571500 h 571500"/>
                <a:gd name="connsiteX2" fmla="*/ 1083469 w 1083469"/>
                <a:gd name="connsiteY2" fmla="*/ 0 h 571500"/>
                <a:gd name="connsiteX3" fmla="*/ 0 w 1083469"/>
                <a:gd name="connsiteY3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469" h="571500">
                  <a:moveTo>
                    <a:pt x="52388" y="26194"/>
                  </a:moveTo>
                  <a:lnTo>
                    <a:pt x="1078707" y="571500"/>
                  </a:lnTo>
                  <a:cubicBezTo>
                    <a:pt x="1080294" y="381000"/>
                    <a:pt x="1081882" y="190500"/>
                    <a:pt x="1083469" y="0"/>
                  </a:cubicBezTo>
                  <a:lnTo>
                    <a:pt x="0" y="0"/>
                  </a:lnTo>
                </a:path>
              </a:pathLst>
            </a:custGeom>
            <a:solidFill>
              <a:srgbClr val="D7E4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ED44226-5812-43CC-9CFC-9EE3A7910B28}"/>
                </a:ext>
              </a:extLst>
            </p:cNvPr>
            <p:cNvSpPr/>
            <p:nvPr/>
          </p:nvSpPr>
          <p:spPr>
            <a:xfrm>
              <a:off x="37281" y="4598353"/>
              <a:ext cx="640555" cy="373857"/>
            </a:xfrm>
            <a:custGeom>
              <a:avLst/>
              <a:gdLst>
                <a:gd name="connsiteX0" fmla="*/ 0 w 626268"/>
                <a:gd name="connsiteY0" fmla="*/ 373857 h 373857"/>
                <a:gd name="connsiteX1" fmla="*/ 626268 w 626268"/>
                <a:gd name="connsiteY1" fmla="*/ 2382 h 373857"/>
                <a:gd name="connsiteX2" fmla="*/ 0 w 626268"/>
                <a:gd name="connsiteY2" fmla="*/ 0 h 373857"/>
                <a:gd name="connsiteX3" fmla="*/ 0 w 626268"/>
                <a:gd name="connsiteY3" fmla="*/ 373857 h 373857"/>
                <a:gd name="connsiteX0" fmla="*/ 0 w 640555"/>
                <a:gd name="connsiteY0" fmla="*/ 373857 h 373857"/>
                <a:gd name="connsiteX1" fmla="*/ 640555 w 640555"/>
                <a:gd name="connsiteY1" fmla="*/ 1 h 373857"/>
                <a:gd name="connsiteX2" fmla="*/ 0 w 640555"/>
                <a:gd name="connsiteY2" fmla="*/ 0 h 373857"/>
                <a:gd name="connsiteX3" fmla="*/ 0 w 640555"/>
                <a:gd name="connsiteY3" fmla="*/ 373857 h 37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0555" h="373857">
                  <a:moveTo>
                    <a:pt x="0" y="373857"/>
                  </a:moveTo>
                  <a:lnTo>
                    <a:pt x="640555" y="1"/>
                  </a:lnTo>
                  <a:lnTo>
                    <a:pt x="0" y="0"/>
                  </a:lnTo>
                  <a:lnTo>
                    <a:pt x="0" y="373857"/>
                  </a:lnTo>
                  <a:close/>
                </a:path>
              </a:pathLst>
            </a:custGeom>
            <a:solidFill>
              <a:srgbClr val="D7E4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67E08C0-BD68-4856-9F61-B29FF03D81F5}"/>
                </a:ext>
              </a:extLst>
            </p:cNvPr>
            <p:cNvSpPr/>
            <p:nvPr/>
          </p:nvSpPr>
          <p:spPr>
            <a:xfrm>
              <a:off x="30137" y="5000784"/>
              <a:ext cx="1645444" cy="581026"/>
            </a:xfrm>
            <a:custGeom>
              <a:avLst/>
              <a:gdLst>
                <a:gd name="connsiteX0" fmla="*/ 0 w 1657350"/>
                <a:gd name="connsiteY0" fmla="*/ 0 h 597694"/>
                <a:gd name="connsiteX1" fmla="*/ 1050131 w 1657350"/>
                <a:gd name="connsiteY1" fmla="*/ 581025 h 597694"/>
                <a:gd name="connsiteX2" fmla="*/ 1652587 w 1657350"/>
                <a:gd name="connsiteY2" fmla="*/ 223837 h 597694"/>
                <a:gd name="connsiteX3" fmla="*/ 1657350 w 1657350"/>
                <a:gd name="connsiteY3" fmla="*/ 597694 h 597694"/>
                <a:gd name="connsiteX4" fmla="*/ 19050 w 1657350"/>
                <a:gd name="connsiteY4" fmla="*/ 595312 h 597694"/>
                <a:gd name="connsiteX5" fmla="*/ 0 w 1657350"/>
                <a:gd name="connsiteY5" fmla="*/ 0 h 597694"/>
                <a:gd name="connsiteX0" fmla="*/ 4762 w 1638300"/>
                <a:gd name="connsiteY0" fmla="*/ 0 h 576263"/>
                <a:gd name="connsiteX1" fmla="*/ 1031081 w 1638300"/>
                <a:gd name="connsiteY1" fmla="*/ 559594 h 576263"/>
                <a:gd name="connsiteX2" fmla="*/ 1633537 w 1638300"/>
                <a:gd name="connsiteY2" fmla="*/ 202406 h 576263"/>
                <a:gd name="connsiteX3" fmla="*/ 1638300 w 1638300"/>
                <a:gd name="connsiteY3" fmla="*/ 576263 h 576263"/>
                <a:gd name="connsiteX4" fmla="*/ 0 w 1638300"/>
                <a:gd name="connsiteY4" fmla="*/ 573881 h 576263"/>
                <a:gd name="connsiteX5" fmla="*/ 4762 w 1638300"/>
                <a:gd name="connsiteY5" fmla="*/ 0 h 576263"/>
                <a:gd name="connsiteX0" fmla="*/ 4762 w 1638300"/>
                <a:gd name="connsiteY0" fmla="*/ 0 h 576263"/>
                <a:gd name="connsiteX1" fmla="*/ 1031081 w 1638300"/>
                <a:gd name="connsiteY1" fmla="*/ 559594 h 576263"/>
                <a:gd name="connsiteX2" fmla="*/ 1633537 w 1638300"/>
                <a:gd name="connsiteY2" fmla="*/ 202406 h 576263"/>
                <a:gd name="connsiteX3" fmla="*/ 1638300 w 1638300"/>
                <a:gd name="connsiteY3" fmla="*/ 576263 h 576263"/>
                <a:gd name="connsiteX4" fmla="*/ 0 w 1638300"/>
                <a:gd name="connsiteY4" fmla="*/ 573881 h 576263"/>
                <a:gd name="connsiteX5" fmla="*/ 4762 w 1638300"/>
                <a:gd name="connsiteY5" fmla="*/ 0 h 576263"/>
                <a:gd name="connsiteX0" fmla="*/ 0 w 1645444"/>
                <a:gd name="connsiteY0" fmla="*/ 0 h 581026"/>
                <a:gd name="connsiteX1" fmla="*/ 1038225 w 1645444"/>
                <a:gd name="connsiteY1" fmla="*/ 564357 h 581026"/>
                <a:gd name="connsiteX2" fmla="*/ 1640681 w 1645444"/>
                <a:gd name="connsiteY2" fmla="*/ 207169 h 581026"/>
                <a:gd name="connsiteX3" fmla="*/ 1645444 w 1645444"/>
                <a:gd name="connsiteY3" fmla="*/ 581026 h 581026"/>
                <a:gd name="connsiteX4" fmla="*/ 7144 w 1645444"/>
                <a:gd name="connsiteY4" fmla="*/ 578644 h 581026"/>
                <a:gd name="connsiteX5" fmla="*/ 0 w 1645444"/>
                <a:gd name="connsiteY5" fmla="*/ 0 h 581026"/>
                <a:gd name="connsiteX0" fmla="*/ 2381 w 1647825"/>
                <a:gd name="connsiteY0" fmla="*/ 0 h 581026"/>
                <a:gd name="connsiteX1" fmla="*/ 1040606 w 1647825"/>
                <a:gd name="connsiteY1" fmla="*/ 564357 h 581026"/>
                <a:gd name="connsiteX2" fmla="*/ 1643062 w 1647825"/>
                <a:gd name="connsiteY2" fmla="*/ 207169 h 581026"/>
                <a:gd name="connsiteX3" fmla="*/ 1647825 w 1647825"/>
                <a:gd name="connsiteY3" fmla="*/ 581026 h 581026"/>
                <a:gd name="connsiteX4" fmla="*/ 0 w 1647825"/>
                <a:gd name="connsiteY4" fmla="*/ 578644 h 581026"/>
                <a:gd name="connsiteX5" fmla="*/ 2381 w 1647825"/>
                <a:gd name="connsiteY5" fmla="*/ 0 h 581026"/>
                <a:gd name="connsiteX0" fmla="*/ 0 w 1645444"/>
                <a:gd name="connsiteY0" fmla="*/ 0 h 581026"/>
                <a:gd name="connsiteX1" fmla="*/ 1038225 w 1645444"/>
                <a:gd name="connsiteY1" fmla="*/ 564357 h 581026"/>
                <a:gd name="connsiteX2" fmla="*/ 1640681 w 1645444"/>
                <a:gd name="connsiteY2" fmla="*/ 207169 h 581026"/>
                <a:gd name="connsiteX3" fmla="*/ 1645444 w 1645444"/>
                <a:gd name="connsiteY3" fmla="*/ 581026 h 581026"/>
                <a:gd name="connsiteX4" fmla="*/ 4763 w 1645444"/>
                <a:gd name="connsiteY4" fmla="*/ 578644 h 581026"/>
                <a:gd name="connsiteX5" fmla="*/ 0 w 1645444"/>
                <a:gd name="connsiteY5" fmla="*/ 0 h 58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5444" h="581026">
                  <a:moveTo>
                    <a:pt x="0" y="0"/>
                  </a:moveTo>
                  <a:lnTo>
                    <a:pt x="1038225" y="564357"/>
                  </a:lnTo>
                  <a:lnTo>
                    <a:pt x="1640681" y="207169"/>
                  </a:lnTo>
                  <a:cubicBezTo>
                    <a:pt x="1642269" y="331788"/>
                    <a:pt x="1643856" y="456407"/>
                    <a:pt x="1645444" y="581026"/>
                  </a:cubicBezTo>
                  <a:lnTo>
                    <a:pt x="4763" y="578644"/>
                  </a:lnTo>
                  <a:cubicBezTo>
                    <a:pt x="5557" y="384175"/>
                    <a:pt x="3968" y="211138"/>
                    <a:pt x="0" y="0"/>
                  </a:cubicBezTo>
                  <a:close/>
                </a:path>
              </a:pathLst>
            </a:custGeom>
            <a:solidFill>
              <a:srgbClr val="D7E4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C023BAEA-38DF-431E-9549-6443B9DA7798}"/>
                </a:ext>
              </a:extLst>
            </p:cNvPr>
            <p:cNvSpPr/>
            <p:nvPr/>
          </p:nvSpPr>
          <p:spPr>
            <a:xfrm>
              <a:off x="1520799" y="5093653"/>
              <a:ext cx="57150" cy="28575"/>
            </a:xfrm>
            <a:custGeom>
              <a:avLst/>
              <a:gdLst>
                <a:gd name="connsiteX0" fmla="*/ 0 w 57150"/>
                <a:gd name="connsiteY0" fmla="*/ 0 h 28575"/>
                <a:gd name="connsiteX1" fmla="*/ 57150 w 57150"/>
                <a:gd name="connsiteY1" fmla="*/ 28575 h 28575"/>
                <a:gd name="connsiteX2" fmla="*/ 0 w 57150"/>
                <a:gd name="connsiteY2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50" h="28575">
                  <a:moveTo>
                    <a:pt x="0" y="0"/>
                  </a:moveTo>
                  <a:lnTo>
                    <a:pt x="57150" y="285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98" name="Pfeil: nach unten 31">
            <a:extLst>
              <a:ext uri="{FF2B5EF4-FFF2-40B4-BE49-F238E27FC236}">
                <a16:creationId xmlns:a16="http://schemas.microsoft.com/office/drawing/2014/main" id="{9C1888BF-C925-49D1-952C-3EA090D9A627}"/>
              </a:ext>
            </a:extLst>
          </p:cNvPr>
          <p:cNvSpPr/>
          <p:nvPr/>
        </p:nvSpPr>
        <p:spPr bwMode="gray">
          <a:xfrm rot="11615896">
            <a:off x="1044905" y="4021754"/>
            <a:ext cx="199562" cy="649624"/>
          </a:xfrm>
          <a:prstGeom prst="downArrow">
            <a:avLst>
              <a:gd name="adj1" fmla="val 58000"/>
              <a:gd name="adj2" fmla="val 59588"/>
            </a:avLst>
          </a:prstGeom>
          <a:gradFill flip="none" rotWithShape="1">
            <a:gsLst>
              <a:gs pos="100000">
                <a:srgbClr val="9283B4">
                  <a:alpha val="0"/>
                </a:srgbClr>
              </a:gs>
              <a:gs pos="0">
                <a:srgbClr val="9283B4"/>
              </a:gs>
            </a:gsLst>
            <a:lin ang="16200000" scaled="1"/>
            <a:tileRect/>
          </a:gra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1200" b="1" dirty="0">
              <a:solidFill>
                <a:srgbClr val="3C464B"/>
              </a:solidFill>
              <a:ea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1258116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jhVAp9tS8vFi0PslVpdA"/>
</p:tagLst>
</file>

<file path=ppt/theme/theme1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  <a:extLst>
    <a:ext uri="{05A4C25C-085E-4340-85A3-A5531E510DB2}">
      <thm15:themeFamily xmlns:thm15="http://schemas.microsoft.com/office/thememl/2012/main" name="SE_PPT-Template_EU_GB.potx" id="{F1927B00-68C4-4B8C-9646-852737C58EBA}" vid="{D32634F0-3728-4391-A431-FC26CC43213C}"/>
    </a:ext>
  </a:extLst>
</a:theme>
</file>

<file path=ppt/theme/theme2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8A00E5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8A00E5"/>
      </a:hlink>
      <a:folHlink>
        <a:srgbClr val="7B919D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4ppTags>
  <Name>One object (large)</Name>
  <PpLayout>16</PpLayout>
  <Index>10</Index>
</p4ppTags>
</file>

<file path=customXml/item2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C0BA8D72-CEE5-4D78-BCF0-B2989D93E6F7}">
  <ds:schemaRefs/>
</ds:datastoreItem>
</file>

<file path=customXml/itemProps2.xml><?xml version="1.0" encoding="utf-8"?>
<ds:datastoreItem xmlns:ds="http://schemas.openxmlformats.org/officeDocument/2006/customXml" ds:itemID="{15CF3461-70D1-4B54-AFAB-DAFDA0A238C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_PPT-Template_noslides_EU_GB</Template>
  <TotalTime>3168</TotalTime>
  <Words>756</Words>
  <Application>Microsoft Office PowerPoint</Application>
  <PresentationFormat>Widescreen</PresentationFormat>
  <Paragraphs>129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Arial Unicode MS</vt:lpstr>
      <vt:lpstr>Calibri</vt:lpstr>
      <vt:lpstr>Times New Roman</vt:lpstr>
      <vt:lpstr>Wingdings</vt:lpstr>
      <vt:lpstr>ヒラギノ角ゴ Pro W3</vt:lpstr>
      <vt:lpstr>Siemens Energy</vt:lpstr>
      <vt:lpstr>think-cell Folie</vt:lpstr>
      <vt:lpstr>Speed and Scale II The race for hydrogen</vt:lpstr>
      <vt:lpstr>What Net Zero by 2050 means for the UK</vt:lpstr>
      <vt:lpstr>Speed and Scale - The race for hydrogen speakers </vt:lpstr>
      <vt:lpstr>Building a UK hydrogen economy</vt:lpstr>
      <vt:lpstr>Cost reduction for hydrogen from electrolysers</vt:lpstr>
      <vt:lpstr>Hydrogen economy  More than just electrolyzers and ATRs</vt:lpstr>
    </vt:vector>
  </TitlesOfParts>
  <Company>Siemens Gas and Power</Company>
  <LinksUpToDate>false</LinksUpToDate>
  <SharedDoc>false</SharedDoc>
  <HyperlinkBase>www.siemens-energy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 44 pt</dc:title>
  <dc:creator>Mercer, Sabrina (SE EU GB)</dc:creator>
  <cp:keywords>C_Restricted</cp:keywords>
  <dc:description>July 2020
Version 1.1</dc:description>
  <cp:lastModifiedBy>Rampling, Jaime (RX)</cp:lastModifiedBy>
  <cp:revision>95</cp:revision>
  <cp:lastPrinted>2020-03-11T17:11:35Z</cp:lastPrinted>
  <dcterms:created xsi:type="dcterms:W3CDTF">2020-10-13T10:51:17Z</dcterms:created>
  <dcterms:modified xsi:type="dcterms:W3CDTF">2020-11-03T09:35:31Z</dcterms:modified>
  <cp:contentStatus>Template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Restricted</vt:lpwstr>
  </property>
  <property fmtid="{D5CDD505-2E9C-101B-9397-08002B2CF9AE}" pid="3" name="sodocoClasLang">
    <vt:lpwstr>Restricted</vt:lpwstr>
  </property>
  <property fmtid="{D5CDD505-2E9C-101B-9397-08002B2CF9AE}" pid="4" name="sodocoClasLangId">
    <vt:i4>0</vt:i4>
  </property>
  <property fmtid="{D5CDD505-2E9C-101B-9397-08002B2CF9AE}" pid="5" name="sodocoClasId">
    <vt:i4>1</vt:i4>
  </property>
  <property fmtid="{D5CDD505-2E9C-101B-9397-08002B2CF9AE}" pid="6" name="Document_Confidentiality">
    <vt:lpwstr>Restricted</vt:lpwstr>
  </property>
</Properties>
</file>